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mov" ContentType="video/quicktime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87" r:id="rId4"/>
  </p:sldMasterIdLst>
  <p:notesMasterIdLst>
    <p:notesMasterId r:id="rId16"/>
  </p:notesMasterIdLst>
  <p:sldIdLst>
    <p:sldId id="2147483526" r:id="rId5"/>
    <p:sldId id="2147479513" r:id="rId6"/>
    <p:sldId id="258" r:id="rId7"/>
    <p:sldId id="2147483557" r:id="rId8"/>
    <p:sldId id="259" r:id="rId9"/>
    <p:sldId id="2147479515" r:id="rId10"/>
    <p:sldId id="2147479539" r:id="rId11"/>
    <p:sldId id="2147479541" r:id="rId12"/>
    <p:sldId id="2147479543" r:id="rId13"/>
    <p:sldId id="2147479537" r:id="rId14"/>
    <p:sldId id="2147479333" r:id="rId15"/>
  </p:sldIdLst>
  <p:sldSz cx="12192000" cy="6858000"/>
  <p:notesSz cx="6858000" cy="9144000"/>
  <p:embeddedFontLst>
    <p:embeddedFont>
      <p:font typeface="Commissioner" panose="020B0604020202020204" charset="0"/>
      <p:regular r:id="rId17"/>
      <p:bold r:id="rId18"/>
    </p:embeddedFont>
    <p:embeddedFont>
      <p:font typeface="Commissioner Light" panose="020B0604020202020204" charset="0"/>
      <p:regular r:id="rId19"/>
    </p:embeddedFont>
  </p:embeddedFontLst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DF82"/>
    <a:srgbClr val="ADADAD"/>
    <a:srgbClr val="FFFFFF"/>
    <a:srgbClr val="DFDFDF"/>
    <a:srgbClr val="E5E5E5"/>
    <a:srgbClr val="F2F2F2"/>
    <a:srgbClr val="F1F2F4"/>
    <a:srgbClr val="EBEBEB"/>
    <a:srgbClr val="0E478A"/>
    <a:srgbClr val="32AC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58" autoAdjust="0"/>
    <p:restoredTop sz="94282" autoAdjust="0"/>
  </p:normalViewPr>
  <p:slideViewPr>
    <p:cSldViewPr snapToGrid="0">
      <p:cViewPr varScale="1">
        <p:scale>
          <a:sx n="146" d="100"/>
          <a:sy n="146" d="100"/>
        </p:scale>
        <p:origin x="291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058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AC4EF9-E7D2-4BFE-BE8C-AB211F93535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9B4E1CAE-A53E-40C3-AA62-6381B5746056}">
      <dgm:prSet phldrT="[Text]" custT="1"/>
      <dgm:spPr>
        <a:solidFill>
          <a:schemeClr val="bg1"/>
        </a:solidFill>
        <a:ln>
          <a:solidFill>
            <a:srgbClr val="32AC5C"/>
          </a:solidFill>
        </a:ln>
        <a:effectLst/>
      </dgm:spPr>
      <dgm:t>
        <a:bodyPr lIns="450000"/>
        <a:lstStyle/>
        <a:p>
          <a:r>
            <a:rPr lang="nl-NL" sz="1500" b="1" noProof="0" dirty="0"/>
            <a:t>Voldoen aan het beheer van databestanden: Download en upload wettelijk verplichte bestanden met slechts een paar klikken.</a:t>
          </a:r>
          <a:endParaRPr lang="en-US" sz="1500" noProof="0" dirty="0"/>
        </a:p>
      </dgm:t>
    </dgm:pt>
    <dgm:pt modelId="{CF24DA5D-F051-47BE-9475-129C2AD0DAA4}" type="parTrans" cxnId="{861A0F84-4520-4716-8516-4684F0ADD204}">
      <dgm:prSet/>
      <dgm:spPr/>
      <dgm:t>
        <a:bodyPr/>
        <a:lstStyle/>
        <a:p>
          <a:endParaRPr lang="en-US" sz="1500"/>
        </a:p>
      </dgm:t>
    </dgm:pt>
    <dgm:pt modelId="{78E55883-7C46-4405-86C3-B1BF84DDA986}" type="sibTrans" cxnId="{861A0F84-4520-4716-8516-4684F0ADD204}">
      <dgm:prSet/>
      <dgm:spPr>
        <a:solidFill>
          <a:schemeClr val="accent2"/>
        </a:solidFill>
        <a:ln>
          <a:solidFill>
            <a:srgbClr val="32AC5C"/>
          </a:solidFill>
        </a:ln>
      </dgm:spPr>
      <dgm:t>
        <a:bodyPr/>
        <a:lstStyle/>
        <a:p>
          <a:endParaRPr lang="en-US" sz="1500"/>
        </a:p>
      </dgm:t>
    </dgm:pt>
    <dgm:pt modelId="{B41B24B8-D362-4418-884A-F87B4B62A0A9}">
      <dgm:prSet phldrT="[Text]" custT="1"/>
      <dgm:spPr>
        <a:solidFill>
          <a:schemeClr val="bg1"/>
        </a:solidFill>
        <a:ln>
          <a:solidFill>
            <a:srgbClr val="32AC5C"/>
          </a:solidFill>
        </a:ln>
        <a:effectLst/>
      </dgm:spPr>
      <dgm:t>
        <a:bodyPr lIns="450000"/>
        <a:lstStyle/>
        <a:p>
          <a:r>
            <a:rPr lang="nl-NL" sz="1500" b="1" noProof="0" dirty="0"/>
            <a:t>Efficiënt en transparant: Blijf alert op de status van de vloot en reageer onderweg op incidenten.</a:t>
          </a:r>
          <a:endParaRPr lang="en-US" sz="1500" b="0" noProof="0" dirty="0"/>
        </a:p>
      </dgm:t>
    </dgm:pt>
    <dgm:pt modelId="{D64B35E5-E14D-408D-BD6E-2C21595B8728}" type="parTrans" cxnId="{67AD92A2-3E22-43DF-B41D-9C0A3EAC1191}">
      <dgm:prSet/>
      <dgm:spPr/>
      <dgm:t>
        <a:bodyPr/>
        <a:lstStyle/>
        <a:p>
          <a:endParaRPr lang="en-US" sz="1500"/>
        </a:p>
      </dgm:t>
    </dgm:pt>
    <dgm:pt modelId="{FB09A56B-823F-4D94-BC38-AC05BD41ACD0}" type="sibTrans" cxnId="{67AD92A2-3E22-43DF-B41D-9C0A3EAC1191}">
      <dgm:prSet/>
      <dgm:spPr/>
      <dgm:t>
        <a:bodyPr/>
        <a:lstStyle/>
        <a:p>
          <a:endParaRPr lang="en-US" sz="1500"/>
        </a:p>
      </dgm:t>
    </dgm:pt>
    <dgm:pt modelId="{B9CF78E0-C311-4D76-A097-10DEAE972301}">
      <dgm:prSet phldrT="[Text]" custT="1"/>
      <dgm:spPr>
        <a:solidFill>
          <a:schemeClr val="bg1"/>
        </a:solidFill>
        <a:ln>
          <a:solidFill>
            <a:srgbClr val="32AC5C"/>
          </a:solidFill>
        </a:ln>
        <a:effectLst/>
      </dgm:spPr>
      <dgm:t>
        <a:bodyPr lIns="450000"/>
        <a:lstStyle/>
        <a:p>
          <a:r>
            <a:rPr lang="nl-NL" sz="1500" b="1" noProof="0" dirty="0"/>
            <a:t>Volg de downloadherinneringen: Houd de volgende verplichte download bij en blijf georganiseerd.</a:t>
          </a:r>
          <a:endParaRPr lang="en-US" sz="1500" noProof="0" dirty="0"/>
        </a:p>
      </dgm:t>
    </dgm:pt>
    <dgm:pt modelId="{61A036E8-FC58-4CD8-B920-8D09661F043A}" type="parTrans" cxnId="{838A9CEC-FFF4-4A3F-9EA0-CA2CCB67D00B}">
      <dgm:prSet/>
      <dgm:spPr/>
      <dgm:t>
        <a:bodyPr/>
        <a:lstStyle/>
        <a:p>
          <a:endParaRPr lang="en-US" sz="1500"/>
        </a:p>
      </dgm:t>
    </dgm:pt>
    <dgm:pt modelId="{28CDCDC1-2F99-442A-A786-6F7D130576E2}" type="sibTrans" cxnId="{838A9CEC-FFF4-4A3F-9EA0-CA2CCB67D00B}">
      <dgm:prSet/>
      <dgm:spPr/>
      <dgm:t>
        <a:bodyPr/>
        <a:lstStyle/>
        <a:p>
          <a:endParaRPr lang="en-US" sz="1500"/>
        </a:p>
      </dgm:t>
    </dgm:pt>
    <dgm:pt modelId="{294C4CC2-1B6F-450C-8A26-F9F8DE9EF27E}">
      <dgm:prSet phldrT="[Text]" custT="1"/>
      <dgm:spPr>
        <a:solidFill>
          <a:schemeClr val="bg1"/>
        </a:solidFill>
        <a:ln>
          <a:solidFill>
            <a:srgbClr val="32AC5C"/>
          </a:solidFill>
        </a:ln>
        <a:effectLst/>
      </dgm:spPr>
      <dgm:t>
        <a:bodyPr lIns="450000"/>
        <a:lstStyle/>
        <a:p>
          <a:r>
            <a:rPr lang="nl-NL" sz="1500" b="1" noProof="0" dirty="0"/>
            <a:t>Tijdbesparing: Maak handmatige vermeldingen aan en stuur deze direct via de app naar de DTCO 4.1a en beheer je werkactiviteiten op afstand.</a:t>
          </a:r>
          <a:endParaRPr lang="en-US" sz="1500" noProof="0" dirty="0"/>
        </a:p>
      </dgm:t>
    </dgm:pt>
    <dgm:pt modelId="{8E5DF447-59B0-4EF0-90AB-07D45623778F}" type="parTrans" cxnId="{3E625044-3680-4376-A57C-A74FECF844FC}">
      <dgm:prSet/>
      <dgm:spPr/>
      <dgm:t>
        <a:bodyPr/>
        <a:lstStyle/>
        <a:p>
          <a:endParaRPr lang="en-US" sz="1500"/>
        </a:p>
      </dgm:t>
    </dgm:pt>
    <dgm:pt modelId="{CC5856FB-1C24-45AB-B13D-53A6E745142B}" type="sibTrans" cxnId="{3E625044-3680-4376-A57C-A74FECF844FC}">
      <dgm:prSet/>
      <dgm:spPr/>
      <dgm:t>
        <a:bodyPr/>
        <a:lstStyle/>
        <a:p>
          <a:endParaRPr lang="en-US" sz="1500"/>
        </a:p>
      </dgm:t>
    </dgm:pt>
    <dgm:pt modelId="{23545854-7534-44D6-A0EE-A69C305F1625}">
      <dgm:prSet phldrT="[Text]" custT="1"/>
      <dgm:spPr>
        <a:solidFill>
          <a:schemeClr val="bg1"/>
        </a:solidFill>
        <a:ln>
          <a:solidFill>
            <a:srgbClr val="32AC5C"/>
          </a:solidFill>
        </a:ln>
        <a:effectLst/>
      </dgm:spPr>
      <dgm:t>
        <a:bodyPr lIns="450000"/>
        <a:lstStyle/>
        <a:p>
          <a:r>
            <a:rPr lang="nl-NL" sz="1500" b="1" noProof="0" dirty="0"/>
            <a:t>Volledige controle over werktijden: Rijden, werk en rusttijden worden berekend en weergegeven in een gedetailleerd overzicht van dagelijkse en wekelijkse activiteiten.</a:t>
          </a:r>
          <a:endParaRPr lang="en-US" sz="1500" noProof="0" dirty="0"/>
        </a:p>
      </dgm:t>
    </dgm:pt>
    <dgm:pt modelId="{0991D803-42DC-492E-A59A-8D830F734451}" type="parTrans" cxnId="{99205BCA-D39D-44F6-BE67-11384273E736}">
      <dgm:prSet/>
      <dgm:spPr/>
      <dgm:t>
        <a:bodyPr/>
        <a:lstStyle/>
        <a:p>
          <a:endParaRPr lang="en-US" sz="1500"/>
        </a:p>
      </dgm:t>
    </dgm:pt>
    <dgm:pt modelId="{18A9A622-CE3F-4468-A5C7-DECE0A814393}" type="sibTrans" cxnId="{99205BCA-D39D-44F6-BE67-11384273E736}">
      <dgm:prSet/>
      <dgm:spPr/>
      <dgm:t>
        <a:bodyPr/>
        <a:lstStyle/>
        <a:p>
          <a:endParaRPr lang="en-US" sz="1500"/>
        </a:p>
      </dgm:t>
    </dgm:pt>
    <dgm:pt modelId="{2FDFC4C1-BBC8-49BC-B88D-A3EB2232B2FA}" type="pres">
      <dgm:prSet presAssocID="{0FAC4EF9-E7D2-4BFE-BE8C-AB211F93535B}" presName="Name0" presStyleCnt="0">
        <dgm:presLayoutVars>
          <dgm:chMax val="7"/>
          <dgm:chPref val="7"/>
          <dgm:dir/>
        </dgm:presLayoutVars>
      </dgm:prSet>
      <dgm:spPr/>
    </dgm:pt>
    <dgm:pt modelId="{5D4E798A-1514-4676-80F4-565B43EC82A1}" type="pres">
      <dgm:prSet presAssocID="{0FAC4EF9-E7D2-4BFE-BE8C-AB211F93535B}" presName="Name1" presStyleCnt="0"/>
      <dgm:spPr/>
    </dgm:pt>
    <dgm:pt modelId="{48BB6DFB-4581-4EB9-B93A-C07D862E4138}" type="pres">
      <dgm:prSet presAssocID="{0FAC4EF9-E7D2-4BFE-BE8C-AB211F93535B}" presName="cycle" presStyleCnt="0"/>
      <dgm:spPr/>
    </dgm:pt>
    <dgm:pt modelId="{0A66B25A-50AD-44BD-A66F-D73DF48F712C}" type="pres">
      <dgm:prSet presAssocID="{0FAC4EF9-E7D2-4BFE-BE8C-AB211F93535B}" presName="srcNode" presStyleLbl="node1" presStyleIdx="0" presStyleCnt="5"/>
      <dgm:spPr/>
    </dgm:pt>
    <dgm:pt modelId="{0EAA0BF0-4D7B-4820-9704-ED16729EEC4F}" type="pres">
      <dgm:prSet presAssocID="{0FAC4EF9-E7D2-4BFE-BE8C-AB211F93535B}" presName="conn" presStyleLbl="parChTrans1D2" presStyleIdx="0" presStyleCnt="1"/>
      <dgm:spPr/>
    </dgm:pt>
    <dgm:pt modelId="{BA01C70F-5FF9-40B5-97FA-9FEB0B533AAC}" type="pres">
      <dgm:prSet presAssocID="{0FAC4EF9-E7D2-4BFE-BE8C-AB211F93535B}" presName="extraNode" presStyleLbl="node1" presStyleIdx="0" presStyleCnt="5"/>
      <dgm:spPr/>
    </dgm:pt>
    <dgm:pt modelId="{B21AD0BB-F76A-438B-9FC0-58FF2FD30FC0}" type="pres">
      <dgm:prSet presAssocID="{0FAC4EF9-E7D2-4BFE-BE8C-AB211F93535B}" presName="dstNode" presStyleLbl="node1" presStyleIdx="0" presStyleCnt="5"/>
      <dgm:spPr/>
    </dgm:pt>
    <dgm:pt modelId="{311A93D4-1946-4A0C-A5C1-CB1E6743403D}" type="pres">
      <dgm:prSet presAssocID="{9B4E1CAE-A53E-40C3-AA62-6381B5746056}" presName="text_1" presStyleLbl="node1" presStyleIdx="0" presStyleCnt="5">
        <dgm:presLayoutVars>
          <dgm:bulletEnabled val="1"/>
        </dgm:presLayoutVars>
      </dgm:prSet>
      <dgm:spPr>
        <a:prstGeom prst="roundRect">
          <a:avLst/>
        </a:prstGeom>
      </dgm:spPr>
    </dgm:pt>
    <dgm:pt modelId="{CAE26E03-B366-485F-AB1E-BD53DFBC8A12}" type="pres">
      <dgm:prSet presAssocID="{9B4E1CAE-A53E-40C3-AA62-6381B5746056}" presName="accent_1" presStyleCnt="0"/>
      <dgm:spPr/>
    </dgm:pt>
    <dgm:pt modelId="{9DBCBB2F-2F1C-4B44-AA47-FC0E05B0ACD2}" type="pres">
      <dgm:prSet presAssocID="{9B4E1CAE-A53E-40C3-AA62-6381B5746056}" presName="accentRepeatNode" presStyleLbl="solidFgAcc1" presStyleIdx="0" presStyleCnt="5"/>
      <dgm:spPr>
        <a:ln>
          <a:solidFill>
            <a:srgbClr val="32AC5C"/>
          </a:solidFill>
        </a:ln>
        <a:effectLst/>
      </dgm:spPr>
    </dgm:pt>
    <dgm:pt modelId="{8680823D-A2E0-466E-ABD8-7CE041926C69}" type="pres">
      <dgm:prSet presAssocID="{B41B24B8-D362-4418-884A-F87B4B62A0A9}" presName="text_2" presStyleLbl="node1" presStyleIdx="1" presStyleCnt="5" custLinFactNeighborX="5829" custLinFactNeighborY="3996">
        <dgm:presLayoutVars>
          <dgm:bulletEnabled val="1"/>
        </dgm:presLayoutVars>
      </dgm:prSet>
      <dgm:spPr>
        <a:prstGeom prst="roundRect">
          <a:avLst/>
        </a:prstGeom>
      </dgm:spPr>
    </dgm:pt>
    <dgm:pt modelId="{5CC0B9B2-F753-423E-81D9-92979D7C8022}" type="pres">
      <dgm:prSet presAssocID="{B41B24B8-D362-4418-884A-F87B4B62A0A9}" presName="accent_2" presStyleCnt="0"/>
      <dgm:spPr/>
    </dgm:pt>
    <dgm:pt modelId="{0CD57226-E5AF-40FF-9139-5F22AC457B41}" type="pres">
      <dgm:prSet presAssocID="{B41B24B8-D362-4418-884A-F87B4B62A0A9}" presName="accentRepeatNode" presStyleLbl="solidFgAcc1" presStyleIdx="1" presStyleCnt="5" custLinFactNeighborX="-1319"/>
      <dgm:spPr>
        <a:ln>
          <a:solidFill>
            <a:srgbClr val="32AC5C"/>
          </a:solidFill>
        </a:ln>
        <a:effectLst/>
      </dgm:spPr>
    </dgm:pt>
    <dgm:pt modelId="{9D00456F-70D0-4F6F-9444-120582DA147F}" type="pres">
      <dgm:prSet presAssocID="{B9CF78E0-C311-4D76-A097-10DEAE972301}" presName="text_3" presStyleLbl="node1" presStyleIdx="2" presStyleCnt="5">
        <dgm:presLayoutVars>
          <dgm:bulletEnabled val="1"/>
        </dgm:presLayoutVars>
      </dgm:prSet>
      <dgm:spPr>
        <a:prstGeom prst="roundRect">
          <a:avLst/>
        </a:prstGeom>
      </dgm:spPr>
    </dgm:pt>
    <dgm:pt modelId="{1472E2BC-50DA-4FFA-85E5-E41B963A22C2}" type="pres">
      <dgm:prSet presAssocID="{B9CF78E0-C311-4D76-A097-10DEAE972301}" presName="accent_3" presStyleCnt="0"/>
      <dgm:spPr/>
    </dgm:pt>
    <dgm:pt modelId="{592499B8-9AB8-46EB-A6CB-895491CD7011}" type="pres">
      <dgm:prSet presAssocID="{B9CF78E0-C311-4D76-A097-10DEAE972301}" presName="accentRepeatNode" presStyleLbl="solidFgAcc1" presStyleIdx="2" presStyleCnt="5"/>
      <dgm:spPr>
        <a:solidFill>
          <a:schemeClr val="bg1"/>
        </a:solidFill>
        <a:ln>
          <a:solidFill>
            <a:srgbClr val="32AC5C"/>
          </a:solidFill>
        </a:ln>
      </dgm:spPr>
    </dgm:pt>
    <dgm:pt modelId="{CCA0A46F-962F-4B8C-B21E-3AD8B0EB9180}" type="pres">
      <dgm:prSet presAssocID="{294C4CC2-1B6F-450C-8A26-F9F8DE9EF27E}" presName="text_4" presStyleLbl="node1" presStyleIdx="3" presStyleCnt="5">
        <dgm:presLayoutVars>
          <dgm:bulletEnabled val="1"/>
        </dgm:presLayoutVars>
      </dgm:prSet>
      <dgm:spPr>
        <a:prstGeom prst="roundRect">
          <a:avLst/>
        </a:prstGeom>
      </dgm:spPr>
    </dgm:pt>
    <dgm:pt modelId="{3F60A930-E081-4094-93E2-068D729F71DE}" type="pres">
      <dgm:prSet presAssocID="{294C4CC2-1B6F-450C-8A26-F9F8DE9EF27E}" presName="accent_4" presStyleCnt="0"/>
      <dgm:spPr/>
    </dgm:pt>
    <dgm:pt modelId="{6E2701E4-78E3-4EF1-88E7-F0C952BD9F16}" type="pres">
      <dgm:prSet presAssocID="{294C4CC2-1B6F-450C-8A26-F9F8DE9EF27E}" presName="accentRepeatNode" presStyleLbl="solidFgAcc1" presStyleIdx="3" presStyleCnt="5"/>
      <dgm:spPr>
        <a:ln>
          <a:solidFill>
            <a:srgbClr val="32AC5C"/>
          </a:solidFill>
        </a:ln>
      </dgm:spPr>
    </dgm:pt>
    <dgm:pt modelId="{EB60BDD5-3AD6-4C1D-A997-DFC489AF1C4D}" type="pres">
      <dgm:prSet presAssocID="{23545854-7534-44D6-A0EE-A69C305F1625}" presName="text_5" presStyleLbl="node1" presStyleIdx="4" presStyleCnt="5">
        <dgm:presLayoutVars>
          <dgm:bulletEnabled val="1"/>
        </dgm:presLayoutVars>
      </dgm:prSet>
      <dgm:spPr>
        <a:prstGeom prst="roundRect">
          <a:avLst/>
        </a:prstGeom>
      </dgm:spPr>
    </dgm:pt>
    <dgm:pt modelId="{5A910246-FAE2-403A-B30A-E127DEC7DB86}" type="pres">
      <dgm:prSet presAssocID="{23545854-7534-44D6-A0EE-A69C305F1625}" presName="accent_5" presStyleCnt="0"/>
      <dgm:spPr/>
    </dgm:pt>
    <dgm:pt modelId="{54E206A4-33FB-480A-BC21-E0DC4280F889}" type="pres">
      <dgm:prSet presAssocID="{23545854-7534-44D6-A0EE-A69C305F1625}" presName="accentRepeatNode" presStyleLbl="solidFgAcc1" presStyleIdx="4" presStyleCnt="5"/>
      <dgm:spPr>
        <a:ln>
          <a:solidFill>
            <a:srgbClr val="32AC5C"/>
          </a:solidFill>
        </a:ln>
      </dgm:spPr>
    </dgm:pt>
  </dgm:ptLst>
  <dgm:cxnLst>
    <dgm:cxn modelId="{B110A21A-ADDB-49A1-91BB-DC5F8F579B87}" type="presOf" srcId="{B41B24B8-D362-4418-884A-F87B4B62A0A9}" destId="{8680823D-A2E0-466E-ABD8-7CE041926C69}" srcOrd="0" destOrd="0" presId="urn:microsoft.com/office/officeart/2008/layout/VerticalCurvedList"/>
    <dgm:cxn modelId="{30F4BD29-89F4-4DE5-89EC-EBAB05F342F1}" type="presOf" srcId="{78E55883-7C46-4405-86C3-B1BF84DDA986}" destId="{0EAA0BF0-4D7B-4820-9704-ED16729EEC4F}" srcOrd="0" destOrd="0" presId="urn:microsoft.com/office/officeart/2008/layout/VerticalCurvedList"/>
    <dgm:cxn modelId="{F8FBF15E-8F34-4620-B43E-143E1F38EBC9}" type="presOf" srcId="{0FAC4EF9-E7D2-4BFE-BE8C-AB211F93535B}" destId="{2FDFC4C1-BBC8-49BC-B88D-A3EB2232B2FA}" srcOrd="0" destOrd="0" presId="urn:microsoft.com/office/officeart/2008/layout/VerticalCurvedList"/>
    <dgm:cxn modelId="{ED19B063-E131-43BB-AA55-29896216D273}" type="presOf" srcId="{23545854-7534-44D6-A0EE-A69C305F1625}" destId="{EB60BDD5-3AD6-4C1D-A997-DFC489AF1C4D}" srcOrd="0" destOrd="0" presId="urn:microsoft.com/office/officeart/2008/layout/VerticalCurvedList"/>
    <dgm:cxn modelId="{533CE743-66BE-4E96-B0AF-BE2BE8212D1A}" type="presOf" srcId="{9B4E1CAE-A53E-40C3-AA62-6381B5746056}" destId="{311A93D4-1946-4A0C-A5C1-CB1E6743403D}" srcOrd="0" destOrd="0" presId="urn:microsoft.com/office/officeart/2008/layout/VerticalCurvedList"/>
    <dgm:cxn modelId="{3E625044-3680-4376-A57C-A74FECF844FC}" srcId="{0FAC4EF9-E7D2-4BFE-BE8C-AB211F93535B}" destId="{294C4CC2-1B6F-450C-8A26-F9F8DE9EF27E}" srcOrd="3" destOrd="0" parTransId="{8E5DF447-59B0-4EF0-90AB-07D45623778F}" sibTransId="{CC5856FB-1C24-45AB-B13D-53A6E745142B}"/>
    <dgm:cxn modelId="{861A0F84-4520-4716-8516-4684F0ADD204}" srcId="{0FAC4EF9-E7D2-4BFE-BE8C-AB211F93535B}" destId="{9B4E1CAE-A53E-40C3-AA62-6381B5746056}" srcOrd="0" destOrd="0" parTransId="{CF24DA5D-F051-47BE-9475-129C2AD0DAA4}" sibTransId="{78E55883-7C46-4405-86C3-B1BF84DDA986}"/>
    <dgm:cxn modelId="{67AD92A2-3E22-43DF-B41D-9C0A3EAC1191}" srcId="{0FAC4EF9-E7D2-4BFE-BE8C-AB211F93535B}" destId="{B41B24B8-D362-4418-884A-F87B4B62A0A9}" srcOrd="1" destOrd="0" parTransId="{D64B35E5-E14D-408D-BD6E-2C21595B8728}" sibTransId="{FB09A56B-823F-4D94-BC38-AC05BD41ACD0}"/>
    <dgm:cxn modelId="{99205BCA-D39D-44F6-BE67-11384273E736}" srcId="{0FAC4EF9-E7D2-4BFE-BE8C-AB211F93535B}" destId="{23545854-7534-44D6-A0EE-A69C305F1625}" srcOrd="4" destOrd="0" parTransId="{0991D803-42DC-492E-A59A-8D830F734451}" sibTransId="{18A9A622-CE3F-4468-A5C7-DECE0A814393}"/>
    <dgm:cxn modelId="{7B38E8CA-8721-45F8-8FF2-9A6AE4CC9543}" type="presOf" srcId="{B9CF78E0-C311-4D76-A097-10DEAE972301}" destId="{9D00456F-70D0-4F6F-9444-120582DA147F}" srcOrd="0" destOrd="0" presId="urn:microsoft.com/office/officeart/2008/layout/VerticalCurvedList"/>
    <dgm:cxn modelId="{838A9CEC-FFF4-4A3F-9EA0-CA2CCB67D00B}" srcId="{0FAC4EF9-E7D2-4BFE-BE8C-AB211F93535B}" destId="{B9CF78E0-C311-4D76-A097-10DEAE972301}" srcOrd="2" destOrd="0" parTransId="{61A036E8-FC58-4CD8-B920-8D09661F043A}" sibTransId="{28CDCDC1-2F99-442A-A786-6F7D130576E2}"/>
    <dgm:cxn modelId="{286A07F6-A2AF-4A4E-8415-01266D5808F8}" type="presOf" srcId="{294C4CC2-1B6F-450C-8A26-F9F8DE9EF27E}" destId="{CCA0A46F-962F-4B8C-B21E-3AD8B0EB9180}" srcOrd="0" destOrd="0" presId="urn:microsoft.com/office/officeart/2008/layout/VerticalCurvedList"/>
    <dgm:cxn modelId="{53707F1D-0756-4697-AA34-F089A5B997D4}" type="presParOf" srcId="{2FDFC4C1-BBC8-49BC-B88D-A3EB2232B2FA}" destId="{5D4E798A-1514-4676-80F4-565B43EC82A1}" srcOrd="0" destOrd="0" presId="urn:microsoft.com/office/officeart/2008/layout/VerticalCurvedList"/>
    <dgm:cxn modelId="{03167DF2-DEB3-4DAE-AF45-A6617D054A9D}" type="presParOf" srcId="{5D4E798A-1514-4676-80F4-565B43EC82A1}" destId="{48BB6DFB-4581-4EB9-B93A-C07D862E4138}" srcOrd="0" destOrd="0" presId="urn:microsoft.com/office/officeart/2008/layout/VerticalCurvedList"/>
    <dgm:cxn modelId="{5E24A44E-5667-4FDE-B19D-D7AC729A033F}" type="presParOf" srcId="{48BB6DFB-4581-4EB9-B93A-C07D862E4138}" destId="{0A66B25A-50AD-44BD-A66F-D73DF48F712C}" srcOrd="0" destOrd="0" presId="urn:microsoft.com/office/officeart/2008/layout/VerticalCurvedList"/>
    <dgm:cxn modelId="{CEC864E1-F03B-4315-A387-F0773C0DFC21}" type="presParOf" srcId="{48BB6DFB-4581-4EB9-B93A-C07D862E4138}" destId="{0EAA0BF0-4D7B-4820-9704-ED16729EEC4F}" srcOrd="1" destOrd="0" presId="urn:microsoft.com/office/officeart/2008/layout/VerticalCurvedList"/>
    <dgm:cxn modelId="{69A9D29D-6879-49AB-9B3E-ECED425A6104}" type="presParOf" srcId="{48BB6DFB-4581-4EB9-B93A-C07D862E4138}" destId="{BA01C70F-5FF9-40B5-97FA-9FEB0B533AAC}" srcOrd="2" destOrd="0" presId="urn:microsoft.com/office/officeart/2008/layout/VerticalCurvedList"/>
    <dgm:cxn modelId="{1F71E718-57C9-4536-937A-7213FB81022F}" type="presParOf" srcId="{48BB6DFB-4581-4EB9-B93A-C07D862E4138}" destId="{B21AD0BB-F76A-438B-9FC0-58FF2FD30FC0}" srcOrd="3" destOrd="0" presId="urn:microsoft.com/office/officeart/2008/layout/VerticalCurvedList"/>
    <dgm:cxn modelId="{6D153D06-3806-4264-B2ED-68BC1B428772}" type="presParOf" srcId="{5D4E798A-1514-4676-80F4-565B43EC82A1}" destId="{311A93D4-1946-4A0C-A5C1-CB1E6743403D}" srcOrd="1" destOrd="0" presId="urn:microsoft.com/office/officeart/2008/layout/VerticalCurvedList"/>
    <dgm:cxn modelId="{A3D60E0C-A3C7-433A-ABB9-C821B63D1CED}" type="presParOf" srcId="{5D4E798A-1514-4676-80F4-565B43EC82A1}" destId="{CAE26E03-B366-485F-AB1E-BD53DFBC8A12}" srcOrd="2" destOrd="0" presId="urn:microsoft.com/office/officeart/2008/layout/VerticalCurvedList"/>
    <dgm:cxn modelId="{8608869D-D4D6-49B4-8B5D-AC7477709524}" type="presParOf" srcId="{CAE26E03-B366-485F-AB1E-BD53DFBC8A12}" destId="{9DBCBB2F-2F1C-4B44-AA47-FC0E05B0ACD2}" srcOrd="0" destOrd="0" presId="urn:microsoft.com/office/officeart/2008/layout/VerticalCurvedList"/>
    <dgm:cxn modelId="{B3E32E19-06AD-4AF3-AF9B-80C628DBEC98}" type="presParOf" srcId="{5D4E798A-1514-4676-80F4-565B43EC82A1}" destId="{8680823D-A2E0-466E-ABD8-7CE041926C69}" srcOrd="3" destOrd="0" presId="urn:microsoft.com/office/officeart/2008/layout/VerticalCurvedList"/>
    <dgm:cxn modelId="{E322527E-BC31-435B-8F93-42670B0395CE}" type="presParOf" srcId="{5D4E798A-1514-4676-80F4-565B43EC82A1}" destId="{5CC0B9B2-F753-423E-81D9-92979D7C8022}" srcOrd="4" destOrd="0" presId="urn:microsoft.com/office/officeart/2008/layout/VerticalCurvedList"/>
    <dgm:cxn modelId="{CBDA9ACC-CA2A-4C56-A692-D21B24828871}" type="presParOf" srcId="{5CC0B9B2-F753-423E-81D9-92979D7C8022}" destId="{0CD57226-E5AF-40FF-9139-5F22AC457B41}" srcOrd="0" destOrd="0" presId="urn:microsoft.com/office/officeart/2008/layout/VerticalCurvedList"/>
    <dgm:cxn modelId="{3095A7C9-2878-41F3-AFDC-31BE5AB5FF81}" type="presParOf" srcId="{5D4E798A-1514-4676-80F4-565B43EC82A1}" destId="{9D00456F-70D0-4F6F-9444-120582DA147F}" srcOrd="5" destOrd="0" presId="urn:microsoft.com/office/officeart/2008/layout/VerticalCurvedList"/>
    <dgm:cxn modelId="{2BAA63A4-13E5-4415-AC25-D4534C01AB15}" type="presParOf" srcId="{5D4E798A-1514-4676-80F4-565B43EC82A1}" destId="{1472E2BC-50DA-4FFA-85E5-E41B963A22C2}" srcOrd="6" destOrd="0" presId="urn:microsoft.com/office/officeart/2008/layout/VerticalCurvedList"/>
    <dgm:cxn modelId="{AF829C90-0401-4D5D-BB7F-A417604A8344}" type="presParOf" srcId="{1472E2BC-50DA-4FFA-85E5-E41B963A22C2}" destId="{592499B8-9AB8-46EB-A6CB-895491CD7011}" srcOrd="0" destOrd="0" presId="urn:microsoft.com/office/officeart/2008/layout/VerticalCurvedList"/>
    <dgm:cxn modelId="{D7CD2A0D-FB63-4A8E-927B-CDEE098D5F0F}" type="presParOf" srcId="{5D4E798A-1514-4676-80F4-565B43EC82A1}" destId="{CCA0A46F-962F-4B8C-B21E-3AD8B0EB9180}" srcOrd="7" destOrd="0" presId="urn:microsoft.com/office/officeart/2008/layout/VerticalCurvedList"/>
    <dgm:cxn modelId="{3E277823-AA85-410F-B766-26E102026F46}" type="presParOf" srcId="{5D4E798A-1514-4676-80F4-565B43EC82A1}" destId="{3F60A930-E081-4094-93E2-068D729F71DE}" srcOrd="8" destOrd="0" presId="urn:microsoft.com/office/officeart/2008/layout/VerticalCurvedList"/>
    <dgm:cxn modelId="{D96C6DF3-8145-44FF-B006-F3164F925273}" type="presParOf" srcId="{3F60A930-E081-4094-93E2-068D729F71DE}" destId="{6E2701E4-78E3-4EF1-88E7-F0C952BD9F16}" srcOrd="0" destOrd="0" presId="urn:microsoft.com/office/officeart/2008/layout/VerticalCurvedList"/>
    <dgm:cxn modelId="{66C6A231-CD59-45E4-AFDE-60F2A3F25E1B}" type="presParOf" srcId="{5D4E798A-1514-4676-80F4-565B43EC82A1}" destId="{EB60BDD5-3AD6-4C1D-A997-DFC489AF1C4D}" srcOrd="9" destOrd="0" presId="urn:microsoft.com/office/officeart/2008/layout/VerticalCurvedList"/>
    <dgm:cxn modelId="{C33B81CF-9A6A-4513-98DE-F54F634F6A8B}" type="presParOf" srcId="{5D4E798A-1514-4676-80F4-565B43EC82A1}" destId="{5A910246-FAE2-403A-B30A-E127DEC7DB86}" srcOrd="10" destOrd="0" presId="urn:microsoft.com/office/officeart/2008/layout/VerticalCurvedList"/>
    <dgm:cxn modelId="{3BE9F83B-4924-4581-AE08-6AF916D6FFB8}" type="presParOf" srcId="{5A910246-FAE2-403A-B30A-E127DEC7DB86}" destId="{54E206A4-33FB-480A-BC21-E0DC4280F889}" srcOrd="0" destOrd="0" presId="urn:microsoft.com/office/officeart/2008/layout/VerticalCurv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AA0BF0-4D7B-4820-9704-ED16729EEC4F}">
      <dsp:nvSpPr>
        <dsp:cNvPr id="0" name=""/>
        <dsp:cNvSpPr/>
      </dsp:nvSpPr>
      <dsp:spPr>
        <a:xfrm>
          <a:off x="-5634876" y="-862597"/>
          <a:ext cx="6708903" cy="6708903"/>
        </a:xfrm>
        <a:prstGeom prst="blockArc">
          <a:avLst>
            <a:gd name="adj1" fmla="val 18900000"/>
            <a:gd name="adj2" fmla="val 2700000"/>
            <a:gd name="adj3" fmla="val 322"/>
          </a:avLst>
        </a:prstGeom>
        <a:solidFill>
          <a:schemeClr val="accent2"/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1A93D4-1946-4A0C-A5C1-CB1E6743403D}">
      <dsp:nvSpPr>
        <dsp:cNvPr id="0" name=""/>
        <dsp:cNvSpPr/>
      </dsp:nvSpPr>
      <dsp:spPr>
        <a:xfrm>
          <a:off x="469524" y="311382"/>
          <a:ext cx="8425374" cy="623162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00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500" b="1" kern="1200" noProof="0" dirty="0"/>
            <a:t>Voldoen aan het beheer van databestanden: Download en upload wettelijk verplichte bestanden met slechts een paar klikken.</a:t>
          </a:r>
          <a:endParaRPr lang="en-US" sz="1500" kern="1200" noProof="0" dirty="0"/>
        </a:p>
      </dsp:txBody>
      <dsp:txXfrm>
        <a:off x="499944" y="341802"/>
        <a:ext cx="8364534" cy="562322"/>
      </dsp:txXfrm>
    </dsp:sp>
    <dsp:sp modelId="{9DBCBB2F-2F1C-4B44-AA47-FC0E05B0ACD2}">
      <dsp:nvSpPr>
        <dsp:cNvPr id="0" name=""/>
        <dsp:cNvSpPr/>
      </dsp:nvSpPr>
      <dsp:spPr>
        <a:xfrm>
          <a:off x="80048" y="233486"/>
          <a:ext cx="778953" cy="7789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80823D-A2E0-466E-ABD8-7CE041926C69}">
      <dsp:nvSpPr>
        <dsp:cNvPr id="0" name=""/>
        <dsp:cNvSpPr/>
      </dsp:nvSpPr>
      <dsp:spPr>
        <a:xfrm>
          <a:off x="985777" y="1270728"/>
          <a:ext cx="7978834" cy="623162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00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500" b="1" kern="1200" noProof="0" dirty="0"/>
            <a:t>Efficiënt en transparant: Blijf alert op de status van de vloot en reageer onderweg op incidenten.</a:t>
          </a:r>
          <a:endParaRPr lang="en-US" sz="1500" b="0" kern="1200" noProof="0" dirty="0"/>
        </a:p>
      </dsp:txBody>
      <dsp:txXfrm>
        <a:off x="1016197" y="1301148"/>
        <a:ext cx="7917994" cy="562322"/>
      </dsp:txXfrm>
    </dsp:sp>
    <dsp:sp modelId="{0CD57226-E5AF-40FF-9139-5F22AC457B41}">
      <dsp:nvSpPr>
        <dsp:cNvPr id="0" name=""/>
        <dsp:cNvSpPr/>
      </dsp:nvSpPr>
      <dsp:spPr>
        <a:xfrm>
          <a:off x="516313" y="1167931"/>
          <a:ext cx="778953" cy="7789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00456F-70D0-4F6F-9444-120582DA147F}">
      <dsp:nvSpPr>
        <dsp:cNvPr id="0" name=""/>
        <dsp:cNvSpPr/>
      </dsp:nvSpPr>
      <dsp:spPr>
        <a:xfrm>
          <a:off x="1053117" y="2180272"/>
          <a:ext cx="7841782" cy="623162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00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500" b="1" kern="1200" noProof="0" dirty="0"/>
            <a:t>Volg de downloadherinneringen: Houd de volgende verplichte download bij en blijf georganiseerd.</a:t>
          </a:r>
          <a:endParaRPr lang="en-US" sz="1500" kern="1200" noProof="0" dirty="0"/>
        </a:p>
      </dsp:txBody>
      <dsp:txXfrm>
        <a:off x="1083537" y="2210692"/>
        <a:ext cx="7780942" cy="562322"/>
      </dsp:txXfrm>
    </dsp:sp>
    <dsp:sp modelId="{592499B8-9AB8-46EB-A6CB-895491CD7011}">
      <dsp:nvSpPr>
        <dsp:cNvPr id="0" name=""/>
        <dsp:cNvSpPr/>
      </dsp:nvSpPr>
      <dsp:spPr>
        <a:xfrm>
          <a:off x="663640" y="2102377"/>
          <a:ext cx="778953" cy="778953"/>
        </a:xfrm>
        <a:prstGeom prst="ellipse">
          <a:avLst/>
        </a:prstGeom>
        <a:solidFill>
          <a:schemeClr val="bg1"/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A0A46F-962F-4B8C-B21E-3AD8B0EB9180}">
      <dsp:nvSpPr>
        <dsp:cNvPr id="0" name=""/>
        <dsp:cNvSpPr/>
      </dsp:nvSpPr>
      <dsp:spPr>
        <a:xfrm>
          <a:off x="916065" y="3114717"/>
          <a:ext cx="7978834" cy="623162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00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500" b="1" kern="1200" noProof="0" dirty="0"/>
            <a:t>Tijdbesparing: Maak handmatige vermeldingen aan en stuur deze direct via de app naar de DTCO 4.1a en beheer je werkactiviteiten op afstand.</a:t>
          </a:r>
          <a:endParaRPr lang="en-US" sz="1500" kern="1200" noProof="0" dirty="0"/>
        </a:p>
      </dsp:txBody>
      <dsp:txXfrm>
        <a:off x="946485" y="3145137"/>
        <a:ext cx="7917994" cy="562322"/>
      </dsp:txXfrm>
    </dsp:sp>
    <dsp:sp modelId="{6E2701E4-78E3-4EF1-88E7-F0C952BD9F16}">
      <dsp:nvSpPr>
        <dsp:cNvPr id="0" name=""/>
        <dsp:cNvSpPr/>
      </dsp:nvSpPr>
      <dsp:spPr>
        <a:xfrm>
          <a:off x="526588" y="3036822"/>
          <a:ext cx="778953" cy="7789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60BDD5-3AD6-4C1D-A997-DFC489AF1C4D}">
      <dsp:nvSpPr>
        <dsp:cNvPr id="0" name=""/>
        <dsp:cNvSpPr/>
      </dsp:nvSpPr>
      <dsp:spPr>
        <a:xfrm>
          <a:off x="469524" y="4049163"/>
          <a:ext cx="8425374" cy="623162"/>
        </a:xfrm>
        <a:prstGeom prst="roundRect">
          <a:avLst/>
        </a:prstGeom>
        <a:solidFill>
          <a:schemeClr val="bg1"/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000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500" b="1" kern="1200" noProof="0" dirty="0"/>
            <a:t>Volledige controle over werktijden: Rijden, werk en rusttijden worden berekend en weergegeven in een gedetailleerd overzicht van dagelijkse en wekelijkse activiteiten.</a:t>
          </a:r>
          <a:endParaRPr lang="en-US" sz="1500" kern="1200" noProof="0" dirty="0"/>
        </a:p>
      </dsp:txBody>
      <dsp:txXfrm>
        <a:off x="499944" y="4079583"/>
        <a:ext cx="8364534" cy="562322"/>
      </dsp:txXfrm>
    </dsp:sp>
    <dsp:sp modelId="{54E206A4-33FB-480A-BC21-E0DC4280F889}">
      <dsp:nvSpPr>
        <dsp:cNvPr id="0" name=""/>
        <dsp:cNvSpPr/>
      </dsp:nvSpPr>
      <dsp:spPr>
        <a:xfrm>
          <a:off x="80048" y="3971267"/>
          <a:ext cx="778953" cy="7789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32AC5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1FAE5A-234B-4FCF-8311-8D85A91F3E3D}" type="datetimeFigureOut">
              <a:rPr lang="en-US" smtClean="0"/>
              <a:t>4/3/202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8CFC3E-DADF-4F78-A92C-33E8CB099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797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B13AD1-D787-1CE6-F68C-033A5EFDE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BE6C462-DE0C-4AD1-E82D-BE5BFAC493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F6AC16D-A0FB-475F-4770-2FEE18834B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CE2B6C-909D-9FA6-BCD5-FDA5D7E3C0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CFC3E-DADF-4F78-A92C-33E8CB09935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550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leichzeitig starten, linkes als erst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83EF83-054E-DA4F-A18D-5B695DA1C1E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721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leichzeitig starten, links zuer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83EF83-054E-DA4F-A18D-5B695DA1C1E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297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Rechts zuerst, 7 sec danach links</a:t>
            </a:r>
          </a:p>
          <a:p>
            <a:r>
              <a:rPr lang="de-DE" dirty="0"/>
              <a:t>Token vorher eingeb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83EF83-054E-DA4F-A18D-5B695DA1C1E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2030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800D15-5394-7587-19E1-544343D6BB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2EB7B4B-262B-C425-A349-C18715BC32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589D739-1575-78A0-4C1B-2CCBCC5B1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D72358-C32A-5A4D-6B2A-C4EFD3634C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8226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CFC3E-DADF-4F78-A92C-33E8CB09935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121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Ein Bild, das Screenshot, Wasser, Blau, Electric Blue (Farbe) enthält.&#10;&#10;KI-generierte Inhalte können fehlerhaft sein.">
            <a:extLst>
              <a:ext uri="{FF2B5EF4-FFF2-40B4-BE49-F238E27FC236}">
                <a16:creationId xmlns:a16="http://schemas.microsoft.com/office/drawing/2014/main" id="{DE3938CB-E2AB-065F-DCD3-5E06E4DB3D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-1"/>
            <a:ext cx="12190476" cy="685885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F3A623F-ED01-9480-83AF-9A821110CC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201" y="2773749"/>
            <a:ext cx="566837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0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0F871BB-4202-9832-C7AB-5E82A8882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6201" y="5253423"/>
            <a:ext cx="5668370" cy="12774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500" b="0" i="0">
                <a:solidFill>
                  <a:schemeClr val="bg1"/>
                </a:solidFill>
                <a:latin typeface="Commissioner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-</a:t>
            </a:r>
            <a:r>
              <a:rPr lang="en-US" dirty="0" err="1"/>
              <a:t>Un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pic>
        <p:nvPicPr>
          <p:cNvPr id="5" name="Grafik 4" descr="Ein Bild, das Screenshot, Logo, Schrift, Grafiken enthält.&#10;&#10;KI-generierte Inhalte können fehlerhaft sein.">
            <a:extLst>
              <a:ext uri="{FF2B5EF4-FFF2-40B4-BE49-F238E27FC236}">
                <a16:creationId xmlns:a16="http://schemas.microsoft.com/office/drawing/2014/main" id="{C1F13A98-68C6-F3BB-91A8-C5506B290D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32501" y="5580546"/>
            <a:ext cx="3259499" cy="1277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7213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_Info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149272E-3656-B0F1-20D8-4A56A79C9A42}"/>
              </a:ext>
            </a:extLst>
          </p:cNvPr>
          <p:cNvSpPr/>
          <p:nvPr userDrawn="1"/>
        </p:nvSpPr>
        <p:spPr>
          <a:xfrm>
            <a:off x="1981773" y="0"/>
            <a:ext cx="3170755" cy="6858000"/>
          </a:xfrm>
          <a:prstGeom prst="rect">
            <a:avLst/>
          </a:prstGeom>
          <a:solidFill>
            <a:srgbClr val="0086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CA49067-FE5F-5E6E-474A-39F3D2B21B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8062" y="3827463"/>
            <a:ext cx="3030538" cy="30305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CAFD406-F2CC-8AF0-EE1F-C8D7491FE3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5382" y="772222"/>
            <a:ext cx="2321081" cy="85874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57DC1726-5FD2-0754-DC58-B8ADBD13AEC0}"/>
              </a:ext>
            </a:extLst>
          </p:cNvPr>
          <p:cNvCxnSpPr/>
          <p:nvPr userDrawn="1"/>
        </p:nvCxnSpPr>
        <p:spPr>
          <a:xfrm>
            <a:off x="2348194" y="772221"/>
            <a:ext cx="0" cy="8587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9">
            <a:extLst>
              <a:ext uri="{FF2B5EF4-FFF2-40B4-BE49-F238E27FC236}">
                <a16:creationId xmlns:a16="http://schemas.microsoft.com/office/drawing/2014/main" id="{F1AAE1B2-130B-A046-7EC2-AAB9A63F16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1359" y="1827213"/>
            <a:ext cx="2175104" cy="20002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1800"/>
              </a:lnSpc>
              <a:buNone/>
              <a:defRPr sz="1400" b="0" i="0">
                <a:solidFill>
                  <a:schemeClr val="bg1"/>
                </a:solidFill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A0B74BA-7708-0005-6E3E-2D65F5578948}"/>
              </a:ext>
            </a:extLst>
          </p:cNvPr>
          <p:cNvSpPr/>
          <p:nvPr userDrawn="1"/>
        </p:nvSpPr>
        <p:spPr>
          <a:xfrm>
            <a:off x="8542130" y="772222"/>
            <a:ext cx="858740" cy="8587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883239B-B13F-EE94-16D2-890191CFBF14}"/>
              </a:ext>
            </a:extLst>
          </p:cNvPr>
          <p:cNvSpPr/>
          <p:nvPr userDrawn="1"/>
        </p:nvSpPr>
        <p:spPr>
          <a:xfrm>
            <a:off x="8542130" y="3429000"/>
            <a:ext cx="858740" cy="8587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Bildplatzhalter 13">
            <a:extLst>
              <a:ext uri="{FF2B5EF4-FFF2-40B4-BE49-F238E27FC236}">
                <a16:creationId xmlns:a16="http://schemas.microsoft.com/office/drawing/2014/main" id="{5EE13199-2098-B435-1DD5-BBC07F42D94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30392" y="960483"/>
            <a:ext cx="482216" cy="48221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23" name="Bildplatzhalter 13">
            <a:extLst>
              <a:ext uri="{FF2B5EF4-FFF2-40B4-BE49-F238E27FC236}">
                <a16:creationId xmlns:a16="http://schemas.microsoft.com/office/drawing/2014/main" id="{9A329D5C-30A1-07D9-622D-576F6370AD7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730392" y="3617262"/>
            <a:ext cx="482216" cy="48221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6CB41875-5D7F-23EB-8B45-1B4859536A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7294" y="1718118"/>
            <a:ext cx="3808412" cy="1379043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ctr">
              <a:lnSpc>
                <a:spcPts val="1800"/>
              </a:lnSpc>
              <a:buFont typeface="Commissioner Light" pitchFamily="2" charset="0"/>
              <a:buChar char="∕"/>
              <a:defRPr sz="1400" b="0" i="0"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endParaRPr lang="de-DE"/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70E60090-4963-0CC3-21B2-17593B5BB9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7294" y="4383943"/>
            <a:ext cx="3808412" cy="1379043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ctr">
              <a:lnSpc>
                <a:spcPts val="1800"/>
              </a:lnSpc>
              <a:buFont typeface="Commissioner Light" pitchFamily="2" charset="0"/>
              <a:buChar char="∕"/>
              <a:defRPr sz="1400" b="0" i="0"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endParaRPr lang="de-DE"/>
          </a:p>
        </p:txBody>
      </p:sp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B6729180-C5C2-C0EB-46F9-80B6B3AB7C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926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_Info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19D1F40-6980-52DA-1130-D39F60878BE8}"/>
              </a:ext>
            </a:extLst>
          </p:cNvPr>
          <p:cNvSpPr/>
          <p:nvPr userDrawn="1"/>
        </p:nvSpPr>
        <p:spPr>
          <a:xfrm>
            <a:off x="0" y="3635043"/>
            <a:ext cx="12192000" cy="2332661"/>
          </a:xfrm>
          <a:prstGeom prst="rect">
            <a:avLst/>
          </a:prstGeom>
          <a:solidFill>
            <a:srgbClr val="0086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 descr="Ein Bild, das Grafiken, Schrift, Screenshot, Grafikdesign enthält.&#10;&#10;Automatisch generierte Beschreibung">
            <a:extLst>
              <a:ext uri="{FF2B5EF4-FFF2-40B4-BE49-F238E27FC236}">
                <a16:creationId xmlns:a16="http://schemas.microsoft.com/office/drawing/2014/main" id="{9F4F0F90-D4A4-DCDB-FE8C-AACED6F3B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497" y="6441649"/>
            <a:ext cx="1066800" cy="203200"/>
          </a:xfrm>
          <a:prstGeom prst="rect">
            <a:avLst/>
          </a:prstGeom>
        </p:spPr>
      </p:pic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CA49067-FE5F-5E6E-474A-39F3D2B21B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8062" y="3827463"/>
            <a:ext cx="3030538" cy="30305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de-DE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57DC1726-5FD2-0754-DC58-B8ADBD13AEC0}"/>
              </a:ext>
            </a:extLst>
          </p:cNvPr>
          <p:cNvCxnSpPr/>
          <p:nvPr userDrawn="1"/>
        </p:nvCxnSpPr>
        <p:spPr>
          <a:xfrm>
            <a:off x="2348194" y="772221"/>
            <a:ext cx="0" cy="8587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7A0B74BA-7708-0005-6E3E-2D65F5578948}"/>
              </a:ext>
            </a:extLst>
          </p:cNvPr>
          <p:cNvSpPr/>
          <p:nvPr userDrawn="1"/>
        </p:nvSpPr>
        <p:spPr>
          <a:xfrm>
            <a:off x="5739608" y="4335691"/>
            <a:ext cx="858740" cy="858740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Bildplatzhalter 13">
            <a:extLst>
              <a:ext uri="{FF2B5EF4-FFF2-40B4-BE49-F238E27FC236}">
                <a16:creationId xmlns:a16="http://schemas.microsoft.com/office/drawing/2014/main" id="{5EE13199-2098-B435-1DD5-BBC07F42D94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927870" y="4523952"/>
            <a:ext cx="482216" cy="48221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6CB41875-5D7F-23EB-8B45-1B4859536A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01835" y="4075538"/>
            <a:ext cx="3808412" cy="137904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ts val="1800"/>
              </a:lnSpc>
              <a:buNone/>
              <a:defRPr sz="1400" b="0" i="0">
                <a:solidFill>
                  <a:schemeClr val="bg1"/>
                </a:solidFill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DAE41960-3E6F-F526-37D4-0AEF9EE9E1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00C03C3-A599-BD58-1D14-EE7EF052079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tx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6" name="Textplatzhalter 19">
            <a:extLst>
              <a:ext uri="{FF2B5EF4-FFF2-40B4-BE49-F238E27FC236}">
                <a16:creationId xmlns:a16="http://schemas.microsoft.com/office/drawing/2014/main" id="{05958C1D-F6A7-8847-38C9-EDD84E0CBB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4646" y="1843914"/>
            <a:ext cx="10515591" cy="137904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ts val="1800"/>
              </a:lnSpc>
              <a:buNone/>
              <a:defRPr sz="1400" b="0" i="0"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endParaRPr lang="de-DE"/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967888B6-0FBB-0D4E-32BD-CA0E76EB8B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532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_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03C272D1-024D-59A8-76CE-15BA1739FA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2E46706-BA0A-8C07-4296-B489051412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1497" y="6441649"/>
            <a:ext cx="1066800" cy="20320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0D5083B-6094-82CE-C24C-6A4FF28E0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bg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92E8106D-B992-23DF-4116-5E4B9574F4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Textfeld 7">
            <a:extLst>
              <a:ext uri="{FF2B5EF4-FFF2-40B4-BE49-F238E27FC236}">
                <a16:creationId xmlns:a16="http://schemas.microsoft.com/office/drawing/2014/main" id="{EFF44CF8-2115-FD96-1E28-C025A5C50135}"/>
              </a:ext>
            </a:extLst>
          </p:cNvPr>
          <p:cNvSpPr txBox="1"/>
          <p:nvPr userDrawn="1"/>
        </p:nvSpPr>
        <p:spPr>
          <a:xfrm>
            <a:off x="3145379" y="6389360"/>
            <a:ext cx="609738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700" b="0" i="0" dirty="0">
                <a:solidFill>
                  <a:schemeClr val="bg1"/>
                </a:solidFill>
                <a:latin typeface="Commissioner" pitchFamily="2" charset="0"/>
              </a:rPr>
              <a:t>Joep Strijers - CSV Service Sales © AUMOVIO BNL</a:t>
            </a:r>
          </a:p>
          <a:p>
            <a:pPr algn="ctr">
              <a:lnSpc>
                <a:spcPct val="100000"/>
              </a:lnSpc>
            </a:pPr>
            <a:endParaRPr lang="de-DE" sz="700" b="0" i="0" dirty="0">
              <a:solidFill>
                <a:schemeClr val="bg1"/>
              </a:solidFill>
              <a:latin typeface="Commissioner" pitchFamily="2" charset="0"/>
            </a:endParaRP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5DF3CC6-499A-906E-0395-72888873B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7871163" y="6313970"/>
            <a:ext cx="2743200" cy="365125"/>
          </a:xfrm>
          <a:prstGeom prst="rect">
            <a:avLst/>
          </a:prstGeom>
        </p:spPr>
        <p:txBody>
          <a:bodyPr vert="horz" wrap="none" lIns="91440" tIns="45720" rIns="91440" bIns="4572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90000"/>
              </a:lnSpc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0B67CC-3665-436A-AC6C-01B12F4C05BA}" type="datetime1">
              <a:rPr lang="en-US" sz="700" smtClean="0">
                <a:solidFill>
                  <a:schemeClr val="bg1"/>
                </a:solidFill>
              </a:rPr>
              <a:pPr/>
              <a:t>4/3/2026</a:t>
            </a:fld>
            <a:endParaRPr 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8240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_Plai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00D5083B-6094-82CE-C24C-6A4FF28E0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tx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9B6E2B0D-B61B-64EF-6743-056164DEF8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52595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2F73B8DD-A1AD-B748-48D5-985A888AB3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23D36CB-CB78-337F-3187-56AC038AEF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HANK YOU</a:t>
            </a:r>
          </a:p>
        </p:txBody>
      </p:sp>
      <p:pic>
        <p:nvPicPr>
          <p:cNvPr id="4" name="Grafik 3" descr="Ein Bild, das Schrift, Grafiken, Text, Logo enthält.&#10;&#10;Automatisch generierte Beschreibung">
            <a:extLst>
              <a:ext uri="{FF2B5EF4-FFF2-40B4-BE49-F238E27FC236}">
                <a16:creationId xmlns:a16="http://schemas.microsoft.com/office/drawing/2014/main" id="{01A028BB-1A7A-012D-518F-769306EE1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3050" y="5599701"/>
            <a:ext cx="14859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56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sting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lau, Wasser, Electric Blue (Farbe), Azurblau enthält.&#10;&#10;Automatisch generierte Beschreibung">
            <a:extLst>
              <a:ext uri="{FF2B5EF4-FFF2-40B4-BE49-F238E27FC236}">
                <a16:creationId xmlns:a16="http://schemas.microsoft.com/office/drawing/2014/main" id="{9231B0BF-8187-5DAF-C16E-AB2D631E9DC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4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A3BC2CD-2A26-0E24-F684-664B1FA56C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1497" y="6441649"/>
            <a:ext cx="1066800" cy="203200"/>
          </a:xfrm>
          <a:prstGeom prst="rect">
            <a:avLst/>
          </a:prstGeom>
        </p:spPr>
      </p:pic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2F67915B-E7EA-CB81-8B20-A69D6FE55F6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5734" y="6460313"/>
            <a:ext cx="2163762" cy="2032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700" b="0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pPr lvl="0"/>
            <a:r>
              <a:rPr lang="de-DE" dirty="0"/>
              <a:t>Seit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00D5083B-6094-82CE-C24C-6A4FF28E0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bg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5" name="Textplatzhalter 19">
            <a:extLst>
              <a:ext uri="{FF2B5EF4-FFF2-40B4-BE49-F238E27FC236}">
                <a16:creationId xmlns:a16="http://schemas.microsoft.com/office/drawing/2014/main" id="{B30D336D-8C19-A226-B3EC-D37225495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4647" y="2000598"/>
            <a:ext cx="8618724" cy="3990643"/>
          </a:xfrm>
        </p:spPr>
        <p:txBody>
          <a:bodyPr>
            <a:normAutofit/>
          </a:bodyPr>
          <a:lstStyle>
            <a:lvl1pPr marL="0" indent="0" algn="l">
              <a:lnSpc>
                <a:spcPts val="1800"/>
              </a:lnSpc>
              <a:buFontTx/>
              <a:buNone/>
              <a:defRPr sz="1400" b="0" i="0">
                <a:solidFill>
                  <a:schemeClr val="bg1"/>
                </a:solidFill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endParaRPr lang="de-DE"/>
          </a:p>
        </p:txBody>
      </p:sp>
      <p:sp>
        <p:nvSpPr>
          <p:cNvPr id="3" name="Textfeld 7">
            <a:extLst>
              <a:ext uri="{FF2B5EF4-FFF2-40B4-BE49-F238E27FC236}">
                <a16:creationId xmlns:a16="http://schemas.microsoft.com/office/drawing/2014/main" id="{F9CDDE91-672D-B786-B0B6-21542B103704}"/>
              </a:ext>
            </a:extLst>
          </p:cNvPr>
          <p:cNvSpPr txBox="1"/>
          <p:nvPr userDrawn="1"/>
        </p:nvSpPr>
        <p:spPr>
          <a:xfrm>
            <a:off x="3145379" y="6389360"/>
            <a:ext cx="609738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700" b="0" i="0" dirty="0">
                <a:solidFill>
                  <a:schemeClr val="bg1"/>
                </a:solidFill>
                <a:latin typeface="Commissioner" pitchFamily="2" charset="0"/>
              </a:rPr>
              <a:t>Joep Strijers - CSV Service Sales © AUMOVIO BNL</a:t>
            </a:r>
          </a:p>
          <a:p>
            <a:pPr algn="ctr">
              <a:lnSpc>
                <a:spcPct val="100000"/>
              </a:lnSpc>
            </a:pPr>
            <a:endParaRPr lang="de-DE" sz="700" b="0" i="0" dirty="0">
              <a:solidFill>
                <a:schemeClr val="bg1"/>
              </a:solidFill>
              <a:latin typeface="Commissioner" pitchFamily="2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1C73539-0958-2D69-34C3-BC509935378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7871163" y="6313970"/>
            <a:ext cx="2743200" cy="365125"/>
          </a:xfrm>
          <a:prstGeom prst="rect">
            <a:avLst/>
          </a:prstGeom>
        </p:spPr>
        <p:txBody>
          <a:bodyPr vert="horz" wrap="none" lIns="91440" tIns="45720" rIns="91440" bIns="4572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90000"/>
              </a:lnSpc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0B67CC-3665-436A-AC6C-01B12F4C05BA}" type="datetime1">
              <a:rPr lang="en-US" sz="700" smtClean="0">
                <a:solidFill>
                  <a:schemeClr val="bg1"/>
                </a:solidFill>
              </a:rPr>
              <a:pPr/>
              <a:t>4/3/2026</a:t>
            </a:fld>
            <a:endParaRPr 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79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ckground_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Blau, Wasser, Electric Blue (Farbe), Azurblau enthält.&#10;&#10;Automatisch generierte Beschreibung">
            <a:extLst>
              <a:ext uri="{FF2B5EF4-FFF2-40B4-BE49-F238E27FC236}">
                <a16:creationId xmlns:a16="http://schemas.microsoft.com/office/drawing/2014/main" id="{6954A542-88EF-0452-EDD1-B5EDB43379E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4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2E46706-BA0A-8C07-4296-B489051412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1497" y="6441649"/>
            <a:ext cx="1066800" cy="20320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0D5083B-6094-82CE-C24C-6A4FF28E0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bg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3" name="Textplatzhalter 22">
            <a:extLst>
              <a:ext uri="{FF2B5EF4-FFF2-40B4-BE49-F238E27FC236}">
                <a16:creationId xmlns:a16="http://schemas.microsoft.com/office/drawing/2014/main" id="{ED0A34F7-7BDE-7AD7-8370-750CEB55AE5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95734" y="6460313"/>
            <a:ext cx="2163762" cy="2032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700" b="0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" name="Textfeld 7">
            <a:extLst>
              <a:ext uri="{FF2B5EF4-FFF2-40B4-BE49-F238E27FC236}">
                <a16:creationId xmlns:a16="http://schemas.microsoft.com/office/drawing/2014/main" id="{B365C07F-049E-F448-EF26-BC66178E0B0C}"/>
              </a:ext>
            </a:extLst>
          </p:cNvPr>
          <p:cNvSpPr txBox="1"/>
          <p:nvPr userDrawn="1"/>
        </p:nvSpPr>
        <p:spPr>
          <a:xfrm>
            <a:off x="3145379" y="6389360"/>
            <a:ext cx="609738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700" b="0" i="0" dirty="0">
                <a:solidFill>
                  <a:schemeClr val="bg1"/>
                </a:solidFill>
                <a:latin typeface="Commissioner" pitchFamily="2" charset="0"/>
              </a:rPr>
              <a:t>Joep Strijers - CSV Service Sales © AUMOVIO BNL</a:t>
            </a:r>
          </a:p>
          <a:p>
            <a:pPr algn="ctr">
              <a:lnSpc>
                <a:spcPct val="100000"/>
              </a:lnSpc>
            </a:pPr>
            <a:endParaRPr lang="de-DE" sz="700" b="0" i="0" dirty="0">
              <a:solidFill>
                <a:schemeClr val="bg1"/>
              </a:solidFill>
              <a:latin typeface="Commissioner" pitchFamily="2" charset="0"/>
            </a:endParaRP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CEABD793-FA23-7D44-7819-1B9F27D9A3A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7871163" y="6313970"/>
            <a:ext cx="2743200" cy="365125"/>
          </a:xfrm>
          <a:prstGeom prst="rect">
            <a:avLst/>
          </a:prstGeom>
        </p:spPr>
        <p:txBody>
          <a:bodyPr vert="horz" wrap="none" lIns="91440" tIns="45720" rIns="91440" bIns="4572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90000"/>
              </a:lnSpc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0B67CC-3665-436A-AC6C-01B12F4C05BA}" type="datetime1">
              <a:rPr lang="en-US" sz="700" smtClean="0">
                <a:solidFill>
                  <a:schemeClr val="bg1"/>
                </a:solidFill>
              </a:rPr>
              <a:pPr/>
              <a:t>4/3/2026</a:t>
            </a:fld>
            <a:endParaRPr 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894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White_Sl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599D5BD0-4FFE-E7DC-A1C1-87C0F670047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2" y="357462"/>
            <a:ext cx="11783231" cy="720725"/>
          </a:xfrm>
          <a:prstGeom prst="rect">
            <a:avLst/>
          </a:prstGeom>
          <a:blipFill>
            <a:blip r:embed="rId2"/>
            <a:stretch>
              <a:fillRect t="-51101"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endParaRPr lang="de-DE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07989" y="1091643"/>
            <a:ext cx="11376024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45A7A216-F0E6-CC9F-A491-A23447231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770" y="377932"/>
            <a:ext cx="11375244" cy="713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B83CAB5F-73DC-3AA4-75D7-58AB4B04ED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Textplatzhalter 19">
            <a:extLst>
              <a:ext uri="{FF2B5EF4-FFF2-40B4-BE49-F238E27FC236}">
                <a16:creationId xmlns:a16="http://schemas.microsoft.com/office/drawing/2014/main" id="{468CFB5F-CB0D-B5DD-8C71-697B9C9F10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9" y="1989138"/>
            <a:ext cx="11376024" cy="40021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7872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Blau, Screenshot, Electric Blue (Farbe), Wasser enthält.&#10;&#10;KI-generierte Inhalte können fehlerhaft sein.">
            <a:extLst>
              <a:ext uri="{FF2B5EF4-FFF2-40B4-BE49-F238E27FC236}">
                <a16:creationId xmlns:a16="http://schemas.microsoft.com/office/drawing/2014/main" id="{E78718F5-5888-5691-4D98-D110DCFDC6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5815"/>
          <a:stretch/>
        </p:blipFill>
        <p:spPr>
          <a:xfrm>
            <a:off x="0" y="0"/>
            <a:ext cx="11480225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8DF3BE1-F027-0D84-BCFD-AF4084BF41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405714"/>
            <a:ext cx="8475923" cy="65921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44233A-C3D7-B8A7-B1A1-5E97241092A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2470245"/>
            <a:ext cx="10515600" cy="361940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buFont typeface="Commissioner Light" pitchFamily="2" charset="0"/>
              <a:buChar char="∕"/>
              <a:defRPr sz="1400" b="0" i="0">
                <a:solidFill>
                  <a:schemeClr val="bg1"/>
                </a:solidFill>
                <a:latin typeface="Commissioner Light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onten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always</a:t>
            </a:r>
            <a:r>
              <a:rPr lang="de-DE"/>
              <a:t> </a:t>
            </a:r>
            <a:r>
              <a:rPr lang="de-DE" err="1"/>
              <a:t>listed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a </a:t>
            </a:r>
            <a:r>
              <a:rPr lang="de-DE" err="1"/>
              <a:t>hard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 </a:t>
            </a:r>
            <a:r>
              <a:rPr lang="de-DE" err="1"/>
              <a:t>spacing</a:t>
            </a:r>
            <a:endParaRPr lang="de-DE"/>
          </a:p>
          <a:p>
            <a:pPr lvl="0"/>
            <a:r>
              <a:rPr lang="de-DE"/>
              <a:t>In </a:t>
            </a:r>
            <a:r>
              <a:rPr lang="de-DE" err="1"/>
              <a:t>addition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age</a:t>
            </a:r>
            <a:r>
              <a:rPr lang="de-DE"/>
              <a:t> </a:t>
            </a:r>
            <a:r>
              <a:rPr lang="de-DE" err="1"/>
              <a:t>number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brough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same </a:t>
            </a:r>
            <a:r>
              <a:rPr lang="de-DE" err="1"/>
              <a:t>vertical</a:t>
            </a:r>
            <a:r>
              <a:rPr lang="de-DE"/>
              <a:t> </a:t>
            </a:r>
            <a:r>
              <a:rPr lang="de-DE" err="1"/>
              <a:t>axis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abs</a:t>
            </a:r>
            <a:endParaRPr lang="de-DE"/>
          </a:p>
        </p:txBody>
      </p:sp>
      <p:sp>
        <p:nvSpPr>
          <p:cNvPr id="6" name="Textfeld 7">
            <a:extLst>
              <a:ext uri="{FF2B5EF4-FFF2-40B4-BE49-F238E27FC236}">
                <a16:creationId xmlns:a16="http://schemas.microsoft.com/office/drawing/2014/main" id="{4E1F1DFA-38E5-FFD0-B371-5BD6D89DBDDF}"/>
              </a:ext>
            </a:extLst>
          </p:cNvPr>
          <p:cNvSpPr txBox="1"/>
          <p:nvPr userDrawn="1"/>
        </p:nvSpPr>
        <p:spPr>
          <a:xfrm>
            <a:off x="3145379" y="6389360"/>
            <a:ext cx="609738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700" b="0" i="0" dirty="0">
                <a:solidFill>
                  <a:schemeClr val="bg1"/>
                </a:solidFill>
                <a:latin typeface="Commissioner" pitchFamily="2" charset="0"/>
              </a:rPr>
              <a:t>Joep Strijers - CSV Service Sales © AUMOVIO BNL</a:t>
            </a:r>
          </a:p>
          <a:p>
            <a:pPr algn="ctr">
              <a:lnSpc>
                <a:spcPct val="100000"/>
              </a:lnSpc>
            </a:pPr>
            <a:endParaRPr lang="de-DE" sz="700" b="0" i="0" dirty="0">
              <a:solidFill>
                <a:schemeClr val="bg1"/>
              </a:solidFill>
              <a:latin typeface="Commission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464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00D5083B-6094-82CE-C24C-6A4FF28E0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tx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5" name="Textplatzhalter 19">
            <a:extLst>
              <a:ext uri="{FF2B5EF4-FFF2-40B4-BE49-F238E27FC236}">
                <a16:creationId xmlns:a16="http://schemas.microsoft.com/office/drawing/2014/main" id="{B30D336D-8C19-A226-B3EC-D37225495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4647" y="2000598"/>
            <a:ext cx="8618724" cy="39906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1800"/>
              </a:lnSpc>
              <a:buFont typeface="Commissioner Light" pitchFamily="2" charset="0"/>
              <a:buNone/>
              <a:defRPr sz="1400" b="0" i="0"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</p:txBody>
      </p:sp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186141DE-0A34-3E1E-9242-812135AEAA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04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D2AA07F7-D7B5-1377-7077-9063FF0D292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B9CFAF5-F1B5-D058-50F6-5B104563FD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1497" y="6441649"/>
            <a:ext cx="1066800" cy="20320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0D5083B-6094-82CE-C24C-6A4FF28E0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bg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5" name="Textplatzhalter 19">
            <a:extLst>
              <a:ext uri="{FF2B5EF4-FFF2-40B4-BE49-F238E27FC236}">
                <a16:creationId xmlns:a16="http://schemas.microsoft.com/office/drawing/2014/main" id="{B30D336D-8C19-A226-B3EC-D37225495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4647" y="2000598"/>
            <a:ext cx="8618724" cy="39906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1800"/>
              </a:lnSpc>
              <a:buFont typeface="Commissioner Light" pitchFamily="2" charset="0"/>
              <a:buNone/>
              <a:defRPr sz="1400" b="0" i="0">
                <a:solidFill>
                  <a:schemeClr val="bg1"/>
                </a:solidFill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endParaRPr lang="de-DE" dirty="0"/>
          </a:p>
        </p:txBody>
      </p:sp>
      <p:sp>
        <p:nvSpPr>
          <p:cNvPr id="2" name="Foliennummernplatzhalter 2">
            <a:extLst>
              <a:ext uri="{FF2B5EF4-FFF2-40B4-BE49-F238E27FC236}">
                <a16:creationId xmlns:a16="http://schemas.microsoft.com/office/drawing/2014/main" id="{633E81DD-ECD5-D6BD-18B8-A0A36CA2A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feld 7">
            <a:extLst>
              <a:ext uri="{FF2B5EF4-FFF2-40B4-BE49-F238E27FC236}">
                <a16:creationId xmlns:a16="http://schemas.microsoft.com/office/drawing/2014/main" id="{85BFCB53-66F5-D979-321D-5D9A7B2D082C}"/>
              </a:ext>
            </a:extLst>
          </p:cNvPr>
          <p:cNvSpPr txBox="1"/>
          <p:nvPr userDrawn="1"/>
        </p:nvSpPr>
        <p:spPr>
          <a:xfrm>
            <a:off x="3145379" y="6389360"/>
            <a:ext cx="609738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700" b="0" i="0" dirty="0">
                <a:solidFill>
                  <a:schemeClr val="bg1"/>
                </a:solidFill>
                <a:latin typeface="Commissioner" pitchFamily="2" charset="0"/>
              </a:rPr>
              <a:t>Joep Strijers - CSV Service Sales © AUMOVIO BNL</a:t>
            </a:r>
          </a:p>
          <a:p>
            <a:pPr algn="ctr">
              <a:lnSpc>
                <a:spcPct val="100000"/>
              </a:lnSpc>
            </a:pPr>
            <a:endParaRPr lang="de-DE" sz="700" b="0" i="0" dirty="0">
              <a:solidFill>
                <a:schemeClr val="bg1"/>
              </a:solidFill>
              <a:latin typeface="Commissioner" pitchFamily="2" charset="0"/>
            </a:endParaRP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8920D830-96F8-9FCA-816A-BA1E2F5FACD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7871163" y="6313970"/>
            <a:ext cx="2743200" cy="365125"/>
          </a:xfrm>
          <a:prstGeom prst="rect">
            <a:avLst/>
          </a:prstGeom>
        </p:spPr>
        <p:txBody>
          <a:bodyPr vert="horz" wrap="none" lIns="91440" tIns="45720" rIns="91440" bIns="4572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90000"/>
              </a:lnSpc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0B67CC-3665-436A-AC6C-01B12F4C05BA}" type="datetime1">
              <a:rPr lang="en-US" sz="700" smtClean="0">
                <a:solidFill>
                  <a:schemeClr val="bg1"/>
                </a:solidFill>
              </a:rPr>
              <a:pPr/>
              <a:t>4/3/2026</a:t>
            </a:fld>
            <a:endParaRPr 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231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00D5083B-6094-82CE-C24C-6A4FF28E0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tx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C1FD33D0-4DEF-67C5-1992-564CA16CA7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Textplatzhalter 19">
            <a:extLst>
              <a:ext uri="{FF2B5EF4-FFF2-40B4-BE49-F238E27FC236}">
                <a16:creationId xmlns:a16="http://schemas.microsoft.com/office/drawing/2014/main" id="{D9935404-E9C5-1C82-783B-1F1A50DC00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4647" y="2000598"/>
            <a:ext cx="8618724" cy="3990643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l">
              <a:lnSpc>
                <a:spcPts val="1800"/>
              </a:lnSpc>
              <a:buFont typeface="Commissioner Light" pitchFamily="2" charset="0"/>
              <a:buChar char="∕"/>
              <a:defRPr sz="1400" b="0" i="0"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mmissioner Light" pitchFamily="2" charset="0"/>
              <a:buChar char="∕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mmissioner Light" pitchFamily="2" charset="0"/>
              <a:buChar char="∕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5913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ing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5CE17153-E3FC-AF12-0B61-DC029352A2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A3BC2CD-2A26-0E24-F684-664B1FA56C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1497" y="6441649"/>
            <a:ext cx="1066800" cy="20320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0D5083B-6094-82CE-C24C-6A4FF28E0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444C2E11-EFA5-5537-44C9-208AAE9426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bg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2" name="Foliennummernplatzhalter 2">
            <a:extLst>
              <a:ext uri="{FF2B5EF4-FFF2-40B4-BE49-F238E27FC236}">
                <a16:creationId xmlns:a16="http://schemas.microsoft.com/office/drawing/2014/main" id="{CA1DFEF2-14EB-C0A2-6C1A-889AB8B0B6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19">
            <a:extLst>
              <a:ext uri="{FF2B5EF4-FFF2-40B4-BE49-F238E27FC236}">
                <a16:creationId xmlns:a16="http://schemas.microsoft.com/office/drawing/2014/main" id="{2C6E2D87-3F74-134A-1605-7739D7ED06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4647" y="2000598"/>
            <a:ext cx="8618724" cy="3990643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l">
              <a:lnSpc>
                <a:spcPts val="1800"/>
              </a:lnSpc>
              <a:buFont typeface="Commissioner Light" pitchFamily="2" charset="0"/>
              <a:buChar char="∕"/>
              <a:defRPr sz="1400" b="0" i="0">
                <a:solidFill>
                  <a:schemeClr val="bg1"/>
                </a:solidFill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mmissioner Light" pitchFamily="2" charset="0"/>
              <a:buChar char="∕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lvl="0"/>
            <a:endParaRPr lang="de-DE"/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mmissioner Light" pitchFamily="2" charset="0"/>
              <a:buChar char="∕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lvl="0"/>
            <a:endParaRPr lang="de-DE"/>
          </a:p>
        </p:txBody>
      </p:sp>
      <p:sp>
        <p:nvSpPr>
          <p:cNvPr id="4" name="Textfeld 7">
            <a:extLst>
              <a:ext uri="{FF2B5EF4-FFF2-40B4-BE49-F238E27FC236}">
                <a16:creationId xmlns:a16="http://schemas.microsoft.com/office/drawing/2014/main" id="{E60FE609-3418-1085-FEF5-13C8B02A4ECA}"/>
              </a:ext>
            </a:extLst>
          </p:cNvPr>
          <p:cNvSpPr txBox="1"/>
          <p:nvPr userDrawn="1"/>
        </p:nvSpPr>
        <p:spPr>
          <a:xfrm>
            <a:off x="3145379" y="6389360"/>
            <a:ext cx="609738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700" b="0" i="0" dirty="0">
                <a:solidFill>
                  <a:schemeClr val="bg1"/>
                </a:solidFill>
                <a:latin typeface="Commissioner" pitchFamily="2" charset="0"/>
              </a:rPr>
              <a:t>Joep Strijers - CSV Service Sales © AUMOVIO BNL</a:t>
            </a:r>
          </a:p>
          <a:p>
            <a:pPr algn="ctr">
              <a:lnSpc>
                <a:spcPct val="100000"/>
              </a:lnSpc>
            </a:pPr>
            <a:endParaRPr lang="de-DE" sz="700" b="0" i="0" dirty="0">
              <a:solidFill>
                <a:schemeClr val="bg1"/>
              </a:solidFill>
              <a:latin typeface="Commissioner" pitchFamily="2" charset="0"/>
            </a:endParaRP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625B686F-8FF8-FD3B-C343-2A7EE11B34C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7871163" y="6313970"/>
            <a:ext cx="2743200" cy="365125"/>
          </a:xfrm>
          <a:prstGeom prst="rect">
            <a:avLst/>
          </a:prstGeom>
        </p:spPr>
        <p:txBody>
          <a:bodyPr vert="horz" wrap="none" lIns="91440" tIns="45720" rIns="91440" bIns="4572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90000"/>
              </a:lnSpc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0B67CC-3665-436A-AC6C-01B12F4C05BA}" type="datetime1">
              <a:rPr lang="en-US" sz="700" smtClean="0">
                <a:solidFill>
                  <a:schemeClr val="bg1"/>
                </a:solidFill>
              </a:rPr>
              <a:pPr/>
              <a:t>4/3/2026</a:t>
            </a:fld>
            <a:endParaRPr 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083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68AFE9DE-C240-2CAD-CA3C-CA3DFE72D73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940552" y="1152887"/>
            <a:ext cx="7275852" cy="4624178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589"/>
              <a:gd name="connsiteY0" fmla="*/ 19391 h 19391"/>
              <a:gd name="connsiteX1" fmla="*/ 4589 w 12589"/>
              <a:gd name="connsiteY1" fmla="*/ 0 h 19391"/>
              <a:gd name="connsiteX2" fmla="*/ 12589 w 12589"/>
              <a:gd name="connsiteY2" fmla="*/ 0 h 19391"/>
              <a:gd name="connsiteX3" fmla="*/ 10589 w 12589"/>
              <a:gd name="connsiteY3" fmla="*/ 10000 h 19391"/>
              <a:gd name="connsiteX4" fmla="*/ 0 w 12589"/>
              <a:gd name="connsiteY4" fmla="*/ 19391 h 19391"/>
              <a:gd name="connsiteX0" fmla="*/ 0 w 12589"/>
              <a:gd name="connsiteY0" fmla="*/ 23118 h 23118"/>
              <a:gd name="connsiteX1" fmla="*/ 6594 w 12589"/>
              <a:gd name="connsiteY1" fmla="*/ 0 h 23118"/>
              <a:gd name="connsiteX2" fmla="*/ 12589 w 12589"/>
              <a:gd name="connsiteY2" fmla="*/ 3727 h 23118"/>
              <a:gd name="connsiteX3" fmla="*/ 10589 w 12589"/>
              <a:gd name="connsiteY3" fmla="*/ 13727 h 23118"/>
              <a:gd name="connsiteX4" fmla="*/ 0 w 12589"/>
              <a:gd name="connsiteY4" fmla="*/ 23118 h 23118"/>
              <a:gd name="connsiteX0" fmla="*/ 0 w 18504"/>
              <a:gd name="connsiteY0" fmla="*/ 23118 h 23118"/>
              <a:gd name="connsiteX1" fmla="*/ 6594 w 18504"/>
              <a:gd name="connsiteY1" fmla="*/ 0 h 23118"/>
              <a:gd name="connsiteX2" fmla="*/ 18504 w 18504"/>
              <a:gd name="connsiteY2" fmla="*/ 0 h 23118"/>
              <a:gd name="connsiteX3" fmla="*/ 10589 w 18504"/>
              <a:gd name="connsiteY3" fmla="*/ 13727 h 23118"/>
              <a:gd name="connsiteX4" fmla="*/ 0 w 18504"/>
              <a:gd name="connsiteY4" fmla="*/ 23118 h 23118"/>
              <a:gd name="connsiteX0" fmla="*/ 0 w 18560"/>
              <a:gd name="connsiteY0" fmla="*/ 23118 h 23118"/>
              <a:gd name="connsiteX1" fmla="*/ 6594 w 18560"/>
              <a:gd name="connsiteY1" fmla="*/ 0 h 23118"/>
              <a:gd name="connsiteX2" fmla="*/ 18504 w 18560"/>
              <a:gd name="connsiteY2" fmla="*/ 0 h 23118"/>
              <a:gd name="connsiteX3" fmla="*/ 18560 w 18560"/>
              <a:gd name="connsiteY3" fmla="*/ 23069 h 23118"/>
              <a:gd name="connsiteX4" fmla="*/ 0 w 18560"/>
              <a:gd name="connsiteY4" fmla="*/ 23118 h 23118"/>
              <a:gd name="connsiteX0" fmla="*/ 0 w 18560"/>
              <a:gd name="connsiteY0" fmla="*/ 23118 h 23118"/>
              <a:gd name="connsiteX1" fmla="*/ 6594 w 18560"/>
              <a:gd name="connsiteY1" fmla="*/ 0 h 23118"/>
              <a:gd name="connsiteX2" fmla="*/ 18504 w 18560"/>
              <a:gd name="connsiteY2" fmla="*/ 0 h 23118"/>
              <a:gd name="connsiteX3" fmla="*/ 18560 w 18560"/>
              <a:gd name="connsiteY3" fmla="*/ 23069 h 23118"/>
              <a:gd name="connsiteX4" fmla="*/ 0 w 18560"/>
              <a:gd name="connsiteY4" fmla="*/ 23118 h 23118"/>
              <a:gd name="connsiteX0" fmla="*/ 0 w 18583"/>
              <a:gd name="connsiteY0" fmla="*/ 23118 h 23118"/>
              <a:gd name="connsiteX1" fmla="*/ 6594 w 18583"/>
              <a:gd name="connsiteY1" fmla="*/ 0 h 23118"/>
              <a:gd name="connsiteX2" fmla="*/ 18580 w 18583"/>
              <a:gd name="connsiteY2" fmla="*/ 0 h 23118"/>
              <a:gd name="connsiteX3" fmla="*/ 18560 w 18583"/>
              <a:gd name="connsiteY3" fmla="*/ 23069 h 23118"/>
              <a:gd name="connsiteX4" fmla="*/ 0 w 18583"/>
              <a:gd name="connsiteY4" fmla="*/ 23118 h 2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83" h="23118">
                <a:moveTo>
                  <a:pt x="0" y="23118"/>
                </a:moveTo>
                <a:lnTo>
                  <a:pt x="6594" y="0"/>
                </a:lnTo>
                <a:lnTo>
                  <a:pt x="18580" y="0"/>
                </a:lnTo>
                <a:cubicBezTo>
                  <a:pt x="18599" y="7690"/>
                  <a:pt x="18541" y="15379"/>
                  <a:pt x="18560" y="23069"/>
                </a:cubicBezTo>
                <a:lnTo>
                  <a:pt x="0" y="231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5A05BC2-6FDB-2DDF-8271-6502A5E7B6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9538" y="1547090"/>
            <a:ext cx="3808082" cy="7601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500" b="1" i="0"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FB157677-FEBA-9671-E78A-022D33F72D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8757" y="2219857"/>
            <a:ext cx="3808082" cy="4993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tx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8DF7A3A-37DB-77E4-6257-8C6AA5670E89}"/>
              </a:ext>
            </a:extLst>
          </p:cNvPr>
          <p:cNvCxnSpPr/>
          <p:nvPr userDrawn="1"/>
        </p:nvCxnSpPr>
        <p:spPr>
          <a:xfrm>
            <a:off x="922350" y="1722783"/>
            <a:ext cx="0" cy="85874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19">
            <a:extLst>
              <a:ext uri="{FF2B5EF4-FFF2-40B4-BE49-F238E27FC236}">
                <a16:creationId xmlns:a16="http://schemas.microsoft.com/office/drawing/2014/main" id="{20F57D07-7D25-E3A8-7C9D-0C0DBC9156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9188" y="2995613"/>
            <a:ext cx="3808412" cy="20002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1800"/>
              </a:lnSpc>
              <a:buNone/>
              <a:defRPr sz="1400" b="0" i="0"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AE46D262-F7EE-E50E-FE22-3683A95FA6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02657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BCF8542-2A28-6C8D-9FEE-C510D4CF12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60557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6F80F70-D75E-3427-EAF1-416CC4EEB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C9B6DD68-B13C-41A3-6D13-F61EBF53BA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tx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CC275514-BC09-53D6-FB20-EB9EE07527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646" y="2218925"/>
            <a:ext cx="4507553" cy="3597269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l">
              <a:lnSpc>
                <a:spcPts val="1800"/>
              </a:lnSpc>
              <a:buFont typeface="Commissioner Light" pitchFamily="2" charset="0"/>
              <a:buChar char="∕"/>
              <a:defRPr sz="1400" b="0" i="0"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8A8FA6B5-7806-201F-4CA2-5DA1BDEBD6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9866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Sl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048D99F-3F82-8CB7-59E3-BA0B4E5905E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08E62D6-6031-73F7-F294-1172EAE7C7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1497" y="6441649"/>
            <a:ext cx="1066800" cy="203200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C413DD2C-7A0B-9EE3-6D34-794EBEF640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28" y="377932"/>
            <a:ext cx="10515600" cy="71304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00" b="1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85C1BCEB-6F85-764A-BB4C-0D9458BEAF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647" y="1091643"/>
            <a:ext cx="10515600" cy="4684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0" i="0">
                <a:solidFill>
                  <a:schemeClr val="bg1"/>
                </a:solidFill>
                <a:latin typeface="Commissioner Light" pitchFamily="2" charset="0"/>
              </a:defRPr>
            </a:lvl1pPr>
          </a:lstStyle>
          <a:p>
            <a:pPr lvl="0"/>
            <a:r>
              <a:rPr lang="de-DE" err="1"/>
              <a:t>Subtitel</a:t>
            </a:r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3C2EFEF-6D58-9434-EE03-1652F84D027D}"/>
              </a:ext>
            </a:extLst>
          </p:cNvPr>
          <p:cNvSpPr/>
          <p:nvPr userDrawn="1"/>
        </p:nvSpPr>
        <p:spPr>
          <a:xfrm>
            <a:off x="0" y="2065522"/>
            <a:ext cx="6666614" cy="3771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oliennummernplatzhalter 2">
            <a:extLst>
              <a:ext uri="{FF2B5EF4-FFF2-40B4-BE49-F238E27FC236}">
                <a16:creationId xmlns:a16="http://schemas.microsoft.com/office/drawing/2014/main" id="{08232363-7F74-52E9-395A-E096B82986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bg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8" name="Grafik 17" descr="Ein Bild, das Schwarz, weiß, Design enthält.&#10;&#10;KI-generierte Inhalte können fehlerhaft sein.">
            <a:extLst>
              <a:ext uri="{FF2B5EF4-FFF2-40B4-BE49-F238E27FC236}">
                <a16:creationId xmlns:a16="http://schemas.microsoft.com/office/drawing/2014/main" id="{88A89041-551D-E611-888E-F19846FD245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1801" b="58095"/>
          <a:stretch/>
        </p:blipFill>
        <p:spPr>
          <a:xfrm>
            <a:off x="0" y="2065522"/>
            <a:ext cx="10910247" cy="3771900"/>
          </a:xfrm>
          <a:prstGeom prst="rect">
            <a:avLst/>
          </a:prstGeom>
        </p:spPr>
      </p:pic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82DE9B65-536D-31EF-E627-3E68BE558C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646" y="2218925"/>
            <a:ext cx="7786509" cy="3485478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l">
              <a:lnSpc>
                <a:spcPts val="1800"/>
              </a:lnSpc>
              <a:buFont typeface="Commissioner Light" pitchFamily="2" charset="0"/>
              <a:buChar char="∕"/>
              <a:defRPr sz="1400" b="0" i="0">
                <a:latin typeface="Commissioner Light" pitchFamily="2" charset="0"/>
              </a:defRPr>
            </a:lvl1pPr>
            <a:lvl2pPr marL="457200" indent="0" algn="l">
              <a:buNone/>
              <a:defRPr sz="1400" b="0" i="0">
                <a:latin typeface="Commissioner Light" pitchFamily="2" charset="0"/>
              </a:defRPr>
            </a:lvl2pPr>
            <a:lvl3pPr marL="914400" indent="0" algn="l">
              <a:buNone/>
              <a:defRPr sz="1400" b="0" i="0">
                <a:latin typeface="Commissioner Light" pitchFamily="2" charset="0"/>
              </a:defRPr>
            </a:lvl3pPr>
            <a:lvl4pPr marL="1371600" indent="0" algn="l">
              <a:buNone/>
              <a:defRPr sz="1400" b="0" i="0">
                <a:latin typeface="Commissioner Light" pitchFamily="2" charset="0"/>
              </a:defRPr>
            </a:lvl4pPr>
            <a:lvl5pPr marL="1828800" indent="0" algn="l">
              <a:buNone/>
              <a:defRPr sz="1400" b="0" i="0">
                <a:latin typeface="Commissioner Light" pitchFamily="2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6" name="Textfeld 7">
            <a:extLst>
              <a:ext uri="{FF2B5EF4-FFF2-40B4-BE49-F238E27FC236}">
                <a16:creationId xmlns:a16="http://schemas.microsoft.com/office/drawing/2014/main" id="{CFF012D7-C5C6-A805-33B7-45C46D472887}"/>
              </a:ext>
            </a:extLst>
          </p:cNvPr>
          <p:cNvSpPr txBox="1"/>
          <p:nvPr userDrawn="1"/>
        </p:nvSpPr>
        <p:spPr>
          <a:xfrm>
            <a:off x="3145379" y="6389360"/>
            <a:ext cx="609738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700" b="0" i="0" dirty="0">
                <a:solidFill>
                  <a:schemeClr val="bg1"/>
                </a:solidFill>
                <a:latin typeface="Commissioner" pitchFamily="2" charset="0"/>
              </a:rPr>
              <a:t>Joep Strijers - CSV Service Sales © AUMOVIO BNL</a:t>
            </a:r>
          </a:p>
          <a:p>
            <a:pPr algn="ctr">
              <a:lnSpc>
                <a:spcPct val="100000"/>
              </a:lnSpc>
            </a:pPr>
            <a:endParaRPr lang="de-DE" sz="700" b="0" i="0" dirty="0">
              <a:solidFill>
                <a:schemeClr val="bg1"/>
              </a:solidFill>
              <a:latin typeface="Commissioner" pitchFamily="2" charset="0"/>
            </a:endParaRP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9D832D4E-4BB8-1AE6-4DF8-C4A7054303A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7871163" y="6313970"/>
            <a:ext cx="2743200" cy="365125"/>
          </a:xfrm>
          <a:prstGeom prst="rect">
            <a:avLst/>
          </a:prstGeom>
        </p:spPr>
        <p:txBody>
          <a:bodyPr vert="horz" wrap="none" lIns="91440" tIns="45720" rIns="91440" bIns="4572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90000"/>
              </a:lnSpc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0B67CC-3665-436A-AC6C-01B12F4C05BA}" type="datetime1">
              <a:rPr lang="en-US" sz="700" smtClean="0">
                <a:solidFill>
                  <a:schemeClr val="bg1"/>
                </a:solidFill>
              </a:rPr>
              <a:pPr/>
              <a:t>4/3/2026</a:t>
            </a:fld>
            <a:endParaRPr 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6214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81C0FED-3EFF-ABA8-ECA9-01CE609660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372" y="6440557"/>
            <a:ext cx="1970139" cy="238538"/>
          </a:xfrm>
          <a:prstGeom prst="rect">
            <a:avLst/>
          </a:prstGeom>
        </p:spPr>
        <p:txBody>
          <a:bodyPr/>
          <a:lstStyle>
            <a:lvl1pPr>
              <a:defRPr sz="800" b="0" i="0">
                <a:solidFill>
                  <a:schemeClr val="tx1"/>
                </a:solidFill>
                <a:latin typeface="Commissioner" pitchFamily="2" charset="0"/>
              </a:defRPr>
            </a:lvl1pPr>
          </a:lstStyle>
          <a:p>
            <a:fld id="{8EA704E7-059E-174F-A8DE-CAC1A39409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feld 7">
            <a:extLst>
              <a:ext uri="{FF2B5EF4-FFF2-40B4-BE49-F238E27FC236}">
                <a16:creationId xmlns:a16="http://schemas.microsoft.com/office/drawing/2014/main" id="{9B537E85-378A-42DC-AEEA-875332EE4148}"/>
              </a:ext>
            </a:extLst>
          </p:cNvPr>
          <p:cNvSpPr txBox="1"/>
          <p:nvPr userDrawn="1"/>
        </p:nvSpPr>
        <p:spPr>
          <a:xfrm>
            <a:off x="3145379" y="6389360"/>
            <a:ext cx="609738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700" b="0" i="0" dirty="0">
                <a:solidFill>
                  <a:schemeClr val="tx1"/>
                </a:solidFill>
                <a:latin typeface="Commissioner" pitchFamily="2" charset="0"/>
              </a:rPr>
              <a:t>Joep Strijers - CSV Service Sales © AUMOVIO BNL</a:t>
            </a:r>
          </a:p>
          <a:p>
            <a:pPr algn="ctr">
              <a:lnSpc>
                <a:spcPct val="100000"/>
              </a:lnSpc>
            </a:pPr>
            <a:endParaRPr lang="de-DE" sz="700" b="0" i="0" dirty="0">
              <a:solidFill>
                <a:schemeClr val="tx1"/>
              </a:solidFill>
              <a:latin typeface="Commissioner" pitchFamily="2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F43E699-025A-5ABE-CEF2-9237B4B5BF99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7871163" y="6313970"/>
            <a:ext cx="2743200" cy="365125"/>
          </a:xfrm>
          <a:prstGeom prst="rect">
            <a:avLst/>
          </a:prstGeom>
        </p:spPr>
        <p:txBody>
          <a:bodyPr vert="horz" wrap="none" lIns="91440" tIns="45720" rIns="91440" bIns="4572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90000"/>
              </a:lnSpc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0B67CC-3665-436A-AC6C-01B12F4C05BA}" type="datetime1">
              <a:rPr lang="en-US" sz="700" smtClean="0">
                <a:solidFill>
                  <a:schemeClr val="tx1"/>
                </a:solidFill>
              </a:rPr>
              <a:pPr/>
              <a:t>4/3/2026</a:t>
            </a:fld>
            <a:endParaRPr lang="en-US" sz="700" dirty="0">
              <a:solidFill>
                <a:schemeClr val="tx1"/>
              </a:solidFill>
            </a:endParaRPr>
          </a:p>
        </p:txBody>
      </p:sp>
      <p:pic>
        <p:nvPicPr>
          <p:cNvPr id="5" name="Grafik 3" descr="Ein Bild, das Grafiken, Schrift, Screenshot, Grafikdesign enthält.&#10;&#10;Automatisch generierte Beschreibung">
            <a:extLst>
              <a:ext uri="{FF2B5EF4-FFF2-40B4-BE49-F238E27FC236}">
                <a16:creationId xmlns:a16="http://schemas.microsoft.com/office/drawing/2014/main" id="{FD0E3423-1F6A-86E1-C3BD-C490C84373A7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497" y="6441649"/>
            <a:ext cx="1066800" cy="2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564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4" r:id="rId2"/>
    <p:sldLayoutId id="2147483698" r:id="rId3"/>
    <p:sldLayoutId id="2147483699" r:id="rId4"/>
    <p:sldLayoutId id="2147483700" r:id="rId5"/>
    <p:sldLayoutId id="2147483701" r:id="rId6"/>
    <p:sldLayoutId id="2147483704" r:id="rId7"/>
    <p:sldLayoutId id="2147483706" r:id="rId8"/>
    <p:sldLayoutId id="2147483708" r:id="rId9"/>
    <p:sldLayoutId id="2147483709" r:id="rId10"/>
    <p:sldLayoutId id="2147483710" r:id="rId11"/>
    <p:sldLayoutId id="2147483718" r:id="rId12"/>
    <p:sldLayoutId id="2147483719" r:id="rId13"/>
    <p:sldLayoutId id="2147483720" r:id="rId14"/>
    <p:sldLayoutId id="2147483723" r:id="rId15"/>
    <p:sldLayoutId id="2147483724" r:id="rId16"/>
    <p:sldLayoutId id="2147483873" r:id="rId1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1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31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5.svg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30.png"/><Relationship Id="rId5" Type="http://schemas.openxmlformats.org/officeDocument/2006/relationships/diagramLayout" Target="../diagrams/layout1.xml"/><Relationship Id="rId15" Type="http://schemas.openxmlformats.org/officeDocument/2006/relationships/image" Target="../media/image34.png"/><Relationship Id="rId10" Type="http://schemas.openxmlformats.org/officeDocument/2006/relationships/image" Target="../media/image29.svg"/><Relationship Id="rId4" Type="http://schemas.openxmlformats.org/officeDocument/2006/relationships/diagramData" Target="../diagrams/data1.xml"/><Relationship Id="rId9" Type="http://schemas.openxmlformats.org/officeDocument/2006/relationships/image" Target="../media/image28.png"/><Relationship Id="rId14" Type="http://schemas.openxmlformats.org/officeDocument/2006/relationships/image" Target="../media/image33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6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0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microsoft.com/office/2007/relationships/media" Target="../media/media2.mp4"/><Relationship Id="rId7" Type="http://schemas.openxmlformats.org/officeDocument/2006/relationships/image" Target="../media/image21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7.xml"/><Relationship Id="rId4" Type="http://schemas.openxmlformats.org/officeDocument/2006/relationships/video" Target="../media/media2.mp4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microsoft.com/office/2007/relationships/media" Target="../media/media4.mp4"/><Relationship Id="rId7" Type="http://schemas.openxmlformats.org/officeDocument/2006/relationships/image" Target="../media/image23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7.xml"/><Relationship Id="rId4" Type="http://schemas.openxmlformats.org/officeDocument/2006/relationships/video" Target="../media/media4.mp4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microsoft.com/office/2007/relationships/media" Target="../media/media6.mp4"/><Relationship Id="rId7" Type="http://schemas.openxmlformats.org/officeDocument/2006/relationships/image" Target="../media/image25.png"/><Relationship Id="rId2" Type="http://schemas.openxmlformats.org/officeDocument/2006/relationships/video" Target="../media/media5.mov"/><Relationship Id="rId1" Type="http://schemas.microsoft.com/office/2007/relationships/media" Target="../media/media5.mov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7.xml"/><Relationship Id="rId4" Type="http://schemas.openxmlformats.org/officeDocument/2006/relationships/video" Target="../media/media6.mp4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9E7D43-F86A-225D-1930-C3B6AED05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8D5D6C7-079F-7D2F-2D7D-43E64E46080E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br>
              <a:rPr lang="en-US" sz="3200" dirty="0"/>
            </a:br>
            <a:br>
              <a:rPr lang="en-US" sz="3200" dirty="0"/>
            </a:br>
            <a:r>
              <a:rPr lang="en-GB" sz="3200" dirty="0"/>
              <a:t>VDO Fleet app</a:t>
            </a:r>
            <a:endParaRPr lang="en-US" sz="3200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89839B5-CF7C-46D2-D783-F3DE59C5A45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5228741" y="14125"/>
            <a:ext cx="6861244" cy="5392247"/>
          </a:xfrm>
          <a:custGeom>
            <a:avLst/>
            <a:gdLst>
              <a:gd name="csX0" fmla="*/ 0 w 5891205"/>
              <a:gd name="csY0" fmla="*/ 0 h 4691279"/>
              <a:gd name="csX1" fmla="*/ 5891205 w 5891205"/>
              <a:gd name="csY1" fmla="*/ 7228 h 4691279"/>
              <a:gd name="csX2" fmla="*/ 2956445 w 5891205"/>
              <a:gd name="csY2" fmla="*/ 4691279 h 469127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5891205" h="4691279">
                <a:moveTo>
                  <a:pt x="0" y="0"/>
                </a:moveTo>
                <a:lnTo>
                  <a:pt x="5891205" y="7228"/>
                </a:lnTo>
                <a:lnTo>
                  <a:pt x="2956445" y="4691279"/>
                </a:lnTo>
                <a:close/>
              </a:path>
            </a:pathLst>
          </a:custGeom>
          <a:blipFill dpi="0" rotWithShape="1">
            <a:blip r:embed="rId8"/>
            <a:srcRect/>
            <a:stretch>
              <a:fillRect/>
            </a:stretch>
          </a:blipFill>
          <a:ln>
            <a:solidFill>
              <a:srgbClr val="00DF8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" name="Grafik 8">
            <a:extLst>
              <a:ext uri="{FF2B5EF4-FFF2-40B4-BE49-F238E27FC236}">
                <a16:creationId xmlns:a16="http://schemas.microsoft.com/office/drawing/2014/main" id="{35308143-F990-1622-BBFC-01117BBBAE11}"/>
              </a:ext>
            </a:extLst>
          </p:cNvPr>
          <p:cNvGrpSpPr/>
          <p:nvPr/>
        </p:nvGrpSpPr>
        <p:grpSpPr>
          <a:xfrm rot="20785765">
            <a:off x="5673532" y="555297"/>
            <a:ext cx="2208851" cy="2218651"/>
            <a:chOff x="7163752" y="2490787"/>
            <a:chExt cx="972503" cy="971550"/>
          </a:xfrm>
          <a:solidFill>
            <a:schemeClr val="bg1">
              <a:alpha val="40000"/>
            </a:schemeClr>
          </a:solidFill>
          <a:scene3d>
            <a:camera prst="isometricRightUp"/>
            <a:lightRig rig="threePt" dir="t"/>
          </a:scene3d>
        </p:grpSpPr>
        <p:sp>
          <p:nvSpPr>
            <p:cNvPr id="5" name="Freihandform: Form 16">
              <a:extLst>
                <a:ext uri="{FF2B5EF4-FFF2-40B4-BE49-F238E27FC236}">
                  <a16:creationId xmlns:a16="http://schemas.microsoft.com/office/drawing/2014/main" id="{B622F4CD-71CF-90D2-C26E-74223D454C2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7487604" y="2814637"/>
              <a:ext cx="647699" cy="647700"/>
            </a:xfrm>
            <a:custGeom>
              <a:avLst/>
              <a:gdLst>
                <a:gd name="connsiteX0" fmla="*/ 114300 w 647699"/>
                <a:gd name="connsiteY0" fmla="*/ 647700 h 647700"/>
                <a:gd name="connsiteX1" fmla="*/ 0 w 647699"/>
                <a:gd name="connsiteY1" fmla="*/ 647700 h 647700"/>
                <a:gd name="connsiteX2" fmla="*/ 647700 w 647699"/>
                <a:gd name="connsiteY2" fmla="*/ 0 h 647700"/>
                <a:gd name="connsiteX3" fmla="*/ 647700 w 647699"/>
                <a:gd name="connsiteY3" fmla="*/ 114300 h 647700"/>
                <a:gd name="connsiteX4" fmla="*/ 114300 w 647699"/>
                <a:gd name="connsiteY4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699" h="647700">
                  <a:moveTo>
                    <a:pt x="114300" y="647700"/>
                  </a:moveTo>
                  <a:lnTo>
                    <a:pt x="0" y="647700"/>
                  </a:lnTo>
                  <a:cubicBezTo>
                    <a:pt x="0" y="290513"/>
                    <a:pt x="290513" y="0"/>
                    <a:pt x="647700" y="0"/>
                  </a:cubicBezTo>
                  <a:lnTo>
                    <a:pt x="647700" y="114300"/>
                  </a:lnTo>
                  <a:cubicBezTo>
                    <a:pt x="354330" y="113348"/>
                    <a:pt x="114300" y="353378"/>
                    <a:pt x="114300" y="647700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Freihandform: Form 17">
              <a:extLst>
                <a:ext uri="{FF2B5EF4-FFF2-40B4-BE49-F238E27FC236}">
                  <a16:creationId xmlns:a16="http://schemas.microsoft.com/office/drawing/2014/main" id="{C58D4275-53B9-2037-D09B-30A58CE5229A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7163752" y="2490787"/>
              <a:ext cx="971549" cy="971550"/>
            </a:xfrm>
            <a:custGeom>
              <a:avLst/>
              <a:gdLst>
                <a:gd name="connsiteX0" fmla="*/ 114300 w 971549"/>
                <a:gd name="connsiteY0" fmla="*/ 971550 h 971550"/>
                <a:gd name="connsiteX1" fmla="*/ 0 w 971549"/>
                <a:gd name="connsiteY1" fmla="*/ 971550 h 971550"/>
                <a:gd name="connsiteX2" fmla="*/ 971550 w 971549"/>
                <a:gd name="connsiteY2" fmla="*/ 0 h 971550"/>
                <a:gd name="connsiteX3" fmla="*/ 971550 w 971549"/>
                <a:gd name="connsiteY3" fmla="*/ 114300 h 971550"/>
                <a:gd name="connsiteX4" fmla="*/ 114300 w 971549"/>
                <a:gd name="connsiteY4" fmla="*/ 97155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1549" h="971550">
                  <a:moveTo>
                    <a:pt x="114300" y="971550"/>
                  </a:moveTo>
                  <a:lnTo>
                    <a:pt x="0" y="971550"/>
                  </a:lnTo>
                  <a:cubicBezTo>
                    <a:pt x="0" y="435292"/>
                    <a:pt x="436245" y="0"/>
                    <a:pt x="971550" y="0"/>
                  </a:cubicBezTo>
                  <a:lnTo>
                    <a:pt x="971550" y="114300"/>
                  </a:lnTo>
                  <a:cubicBezTo>
                    <a:pt x="499110" y="113348"/>
                    <a:pt x="114300" y="498158"/>
                    <a:pt x="114300" y="971550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ihandform: Form 18">
              <a:extLst>
                <a:ext uri="{FF2B5EF4-FFF2-40B4-BE49-F238E27FC236}">
                  <a16:creationId xmlns:a16="http://schemas.microsoft.com/office/drawing/2014/main" id="{40011DFC-EA3B-397C-A5F9-9C48554E9D2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7812405" y="3138487"/>
              <a:ext cx="323850" cy="323850"/>
            </a:xfrm>
            <a:custGeom>
              <a:avLst/>
              <a:gdLst>
                <a:gd name="connsiteX0" fmla="*/ 114300 w 323850"/>
                <a:gd name="connsiteY0" fmla="*/ 323850 h 323850"/>
                <a:gd name="connsiteX1" fmla="*/ 0 w 323850"/>
                <a:gd name="connsiteY1" fmla="*/ 323850 h 323850"/>
                <a:gd name="connsiteX2" fmla="*/ 323850 w 323850"/>
                <a:gd name="connsiteY2" fmla="*/ 0 h 323850"/>
                <a:gd name="connsiteX3" fmla="*/ 323850 w 323850"/>
                <a:gd name="connsiteY3" fmla="*/ 114300 h 323850"/>
                <a:gd name="connsiteX4" fmla="*/ 114300 w 323850"/>
                <a:gd name="connsiteY4" fmla="*/ 32385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14300" y="323850"/>
                  </a:moveTo>
                  <a:lnTo>
                    <a:pt x="0" y="323850"/>
                  </a:lnTo>
                  <a:cubicBezTo>
                    <a:pt x="0" y="144780"/>
                    <a:pt x="145732" y="0"/>
                    <a:pt x="323850" y="0"/>
                  </a:cubicBezTo>
                  <a:lnTo>
                    <a:pt x="323850" y="114300"/>
                  </a:lnTo>
                  <a:cubicBezTo>
                    <a:pt x="207645" y="113347"/>
                    <a:pt x="114300" y="207645"/>
                    <a:pt x="114300" y="323850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933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A57F9-DF30-51A1-4DA2-D73D3141E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529348C-729B-BED1-1D17-4F15559E2B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7D7D098-6921-6F49-150F-156363A7D3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Voordelen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Fleetmanagers</a:t>
            </a:r>
            <a:r>
              <a:rPr lang="en-US" dirty="0"/>
              <a:t> en </a:t>
            </a:r>
            <a:r>
              <a:rPr lang="en-US" dirty="0" err="1"/>
              <a:t>Bestuurders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DBB2C4B-3BEE-1F5F-FEAB-241185A75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DO Fleet Ap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170D79-A48B-6C26-BE22-8CCBF420D9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9" name="Grafik 8" descr="Ein Bild, das Text, Elektronik, Screenshot, Handy enthält.&#10;&#10;KI-generierte Inhalte können fehlerhaft sein.">
            <a:extLst>
              <a:ext uri="{FF2B5EF4-FFF2-40B4-BE49-F238E27FC236}">
                <a16:creationId xmlns:a16="http://schemas.microsoft.com/office/drawing/2014/main" id="{15D0E311-D0EB-6716-FBFC-379E911DAFB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600" y="2052517"/>
            <a:ext cx="1989408" cy="4018444"/>
          </a:xfrm>
          <a:prstGeom prst="rect">
            <a:avLst/>
          </a:prstGeom>
        </p:spPr>
      </p:pic>
      <p:graphicFrame>
        <p:nvGraphicFramePr>
          <p:cNvPr id="5" name="Inhaltsplatzhalter 3">
            <a:extLst>
              <a:ext uri="{FF2B5EF4-FFF2-40B4-BE49-F238E27FC236}">
                <a16:creationId xmlns:a16="http://schemas.microsoft.com/office/drawing/2014/main" id="{81B41699-CFF1-B78E-5128-102A50096479}"/>
              </a:ext>
            </a:extLst>
          </p:cNvPr>
          <p:cNvGraphicFramePr>
            <a:graphicFrameLocks/>
          </p:cNvGraphicFramePr>
          <p:nvPr/>
        </p:nvGraphicFramePr>
        <p:xfrm>
          <a:off x="2832016" y="1584447"/>
          <a:ext cx="8964612" cy="4983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ED1943-94D8-1515-1279-A42287C963AC}"/>
              </a:ext>
            </a:extLst>
          </p:cNvPr>
          <p:cNvGrpSpPr/>
          <p:nvPr/>
        </p:nvGrpSpPr>
        <p:grpSpPr>
          <a:xfrm>
            <a:off x="3088124" y="2018823"/>
            <a:ext cx="450901" cy="457764"/>
            <a:chOff x="3097268" y="2027967"/>
            <a:chExt cx="450901" cy="457764"/>
          </a:xfrm>
          <a:solidFill>
            <a:schemeClr val="accent2"/>
          </a:solidFill>
          <a:effectLst/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A9A06CC6-053B-3BC0-E22C-E6AD7BAE8CD6}"/>
                </a:ext>
              </a:extLst>
            </p:cNvPr>
            <p:cNvSpPr/>
            <p:nvPr/>
          </p:nvSpPr>
          <p:spPr>
            <a:xfrm>
              <a:off x="3097268" y="2027967"/>
              <a:ext cx="394279" cy="303685"/>
            </a:xfrm>
            <a:custGeom>
              <a:avLst/>
              <a:gdLst>
                <a:gd name="connsiteX0" fmla="*/ 111974 w 394279"/>
                <a:gd name="connsiteY0" fmla="*/ 98406 h 303685"/>
                <a:gd name="connsiteX1" fmla="*/ 394280 w 394279"/>
                <a:gd name="connsiteY1" fmla="*/ 98406 h 303685"/>
                <a:gd name="connsiteX2" fmla="*/ 394280 w 394279"/>
                <a:gd name="connsiteY2" fmla="*/ 67609 h 303685"/>
                <a:gd name="connsiteX3" fmla="*/ 371732 w 394279"/>
                <a:gd name="connsiteY3" fmla="*/ 45061 h 303685"/>
                <a:gd name="connsiteX4" fmla="*/ 202773 w 394279"/>
                <a:gd name="connsiteY4" fmla="*/ 45061 h 303685"/>
                <a:gd name="connsiteX5" fmla="*/ 140815 w 394279"/>
                <a:gd name="connsiteY5" fmla="*/ 3946 h 303685"/>
                <a:gd name="connsiteX6" fmla="*/ 128420 w 394279"/>
                <a:gd name="connsiteY6" fmla="*/ 0 h 303685"/>
                <a:gd name="connsiteX7" fmla="*/ 22547 w 394279"/>
                <a:gd name="connsiteY7" fmla="*/ 0 h 303685"/>
                <a:gd name="connsiteX8" fmla="*/ 0 w 394279"/>
                <a:gd name="connsiteY8" fmla="*/ 22547 h 303685"/>
                <a:gd name="connsiteX9" fmla="*/ 0 w 394279"/>
                <a:gd name="connsiteY9" fmla="*/ 303686 h 303685"/>
                <a:gd name="connsiteX10" fmla="*/ 225 w 394279"/>
                <a:gd name="connsiteY10" fmla="*/ 303686 h 303685"/>
                <a:gd name="connsiteX11" fmla="*/ 74831 w 394279"/>
                <a:gd name="connsiteY11" fmla="*/ 122439 h 303685"/>
                <a:gd name="connsiteX12" fmla="*/ 111974 w 394279"/>
                <a:gd name="connsiteY12" fmla="*/ 98406 h 30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4279" h="303685">
                  <a:moveTo>
                    <a:pt x="111974" y="98406"/>
                  </a:moveTo>
                  <a:lnTo>
                    <a:pt x="394280" y="98406"/>
                  </a:lnTo>
                  <a:lnTo>
                    <a:pt x="394280" y="67609"/>
                  </a:lnTo>
                  <a:cubicBezTo>
                    <a:pt x="394280" y="55156"/>
                    <a:pt x="384185" y="45061"/>
                    <a:pt x="371732" y="45061"/>
                  </a:cubicBezTo>
                  <a:lnTo>
                    <a:pt x="202773" y="45061"/>
                  </a:lnTo>
                  <a:lnTo>
                    <a:pt x="140815" y="3946"/>
                  </a:lnTo>
                  <a:cubicBezTo>
                    <a:pt x="137110" y="1547"/>
                    <a:pt x="132830" y="184"/>
                    <a:pt x="128420" y="0"/>
                  </a:cubicBezTo>
                  <a:lnTo>
                    <a:pt x="22547" y="0"/>
                  </a:lnTo>
                  <a:cubicBezTo>
                    <a:pt x="10095" y="0"/>
                    <a:pt x="0" y="10095"/>
                    <a:pt x="0" y="22547"/>
                  </a:cubicBezTo>
                  <a:lnTo>
                    <a:pt x="0" y="303686"/>
                  </a:lnTo>
                  <a:lnTo>
                    <a:pt x="225" y="303686"/>
                  </a:lnTo>
                  <a:lnTo>
                    <a:pt x="74831" y="122439"/>
                  </a:lnTo>
                  <a:cubicBezTo>
                    <a:pt x="81496" y="107896"/>
                    <a:pt x="95977" y="98526"/>
                    <a:pt x="111974" y="98406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BEBEC9C5-056C-E270-9E29-7EDF578B80E8}"/>
                </a:ext>
              </a:extLst>
            </p:cNvPr>
            <p:cNvSpPr/>
            <p:nvPr/>
          </p:nvSpPr>
          <p:spPr>
            <a:xfrm>
              <a:off x="3114165" y="2146221"/>
              <a:ext cx="422444" cy="197182"/>
            </a:xfrm>
            <a:custGeom>
              <a:avLst/>
              <a:gdLst>
                <a:gd name="connsiteX0" fmla="*/ 261357 w 422444"/>
                <a:gd name="connsiteY0" fmla="*/ 100422 h 197182"/>
                <a:gd name="connsiteX1" fmla="*/ 397045 w 422444"/>
                <a:gd name="connsiteY1" fmla="*/ 82371 h 197182"/>
                <a:gd name="connsiteX2" fmla="*/ 420189 w 422444"/>
                <a:gd name="connsiteY2" fmla="*/ 32634 h 197182"/>
                <a:gd name="connsiteX3" fmla="*/ 422444 w 422444"/>
                <a:gd name="connsiteY3" fmla="*/ 22547 h 197182"/>
                <a:gd name="connsiteX4" fmla="*/ 402277 w 422444"/>
                <a:gd name="connsiteY4" fmla="*/ 0 h 197182"/>
                <a:gd name="connsiteX5" fmla="*/ 95176 w 422444"/>
                <a:gd name="connsiteY5" fmla="*/ 0 h 197182"/>
                <a:gd name="connsiteX6" fmla="*/ 76024 w 422444"/>
                <a:gd name="connsiteY6" fmla="*/ 12388 h 197182"/>
                <a:gd name="connsiteX7" fmla="*/ 0 w 422444"/>
                <a:gd name="connsiteY7" fmla="*/ 197183 h 197182"/>
                <a:gd name="connsiteX8" fmla="*/ 229731 w 422444"/>
                <a:gd name="connsiteY8" fmla="*/ 197183 h 197182"/>
                <a:gd name="connsiteX9" fmla="*/ 261357 w 422444"/>
                <a:gd name="connsiteY9" fmla="*/ 100422 h 19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2444" h="197182">
                  <a:moveTo>
                    <a:pt x="261357" y="100422"/>
                  </a:moveTo>
                  <a:cubicBezTo>
                    <a:pt x="297327" y="64469"/>
                    <a:pt x="352926" y="57072"/>
                    <a:pt x="397045" y="82371"/>
                  </a:cubicBezTo>
                  <a:lnTo>
                    <a:pt x="420189" y="32634"/>
                  </a:lnTo>
                  <a:cubicBezTo>
                    <a:pt x="421702" y="29489"/>
                    <a:pt x="422474" y="26038"/>
                    <a:pt x="422444" y="22547"/>
                  </a:cubicBezTo>
                  <a:cubicBezTo>
                    <a:pt x="422509" y="10968"/>
                    <a:pt x="413792" y="1222"/>
                    <a:pt x="402277" y="0"/>
                  </a:cubicBezTo>
                  <a:lnTo>
                    <a:pt x="95176" y="0"/>
                  </a:lnTo>
                  <a:cubicBezTo>
                    <a:pt x="86927" y="56"/>
                    <a:pt x="79458" y="4887"/>
                    <a:pt x="76024" y="12388"/>
                  </a:cubicBezTo>
                  <a:lnTo>
                    <a:pt x="0" y="197183"/>
                  </a:lnTo>
                  <a:lnTo>
                    <a:pt x="229731" y="197183"/>
                  </a:lnTo>
                  <a:cubicBezTo>
                    <a:pt x="224273" y="161734"/>
                    <a:pt x="236016" y="125804"/>
                    <a:pt x="261357" y="100422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C42A6E4-CA8F-DEBF-BC85-D379570A8273}"/>
                </a:ext>
              </a:extLst>
            </p:cNvPr>
            <p:cNvSpPr/>
            <p:nvPr/>
          </p:nvSpPr>
          <p:spPr>
            <a:xfrm>
              <a:off x="3402219" y="2273316"/>
              <a:ext cx="83625" cy="70087"/>
            </a:xfrm>
            <a:custGeom>
              <a:avLst/>
              <a:gdLst>
                <a:gd name="connsiteX0" fmla="*/ 15506 w 83625"/>
                <a:gd name="connsiteY0" fmla="*/ 15530 h 70087"/>
                <a:gd name="connsiteX1" fmla="*/ 2833 w 83625"/>
                <a:gd name="connsiteY1" fmla="*/ 70087 h 70087"/>
                <a:gd name="connsiteX2" fmla="*/ 55534 w 83625"/>
                <a:gd name="connsiteY2" fmla="*/ 70087 h 70087"/>
                <a:gd name="connsiteX3" fmla="*/ 83626 w 83625"/>
                <a:gd name="connsiteY3" fmla="*/ 9740 h 70087"/>
                <a:gd name="connsiteX4" fmla="*/ 15506 w 83625"/>
                <a:gd name="connsiteY4" fmla="*/ 15510 h 7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625" h="70087">
                  <a:moveTo>
                    <a:pt x="15506" y="15530"/>
                  </a:moveTo>
                  <a:cubicBezTo>
                    <a:pt x="1235" y="29817"/>
                    <a:pt x="-3678" y="50972"/>
                    <a:pt x="2833" y="70087"/>
                  </a:cubicBezTo>
                  <a:lnTo>
                    <a:pt x="55534" y="70087"/>
                  </a:lnTo>
                  <a:lnTo>
                    <a:pt x="83626" y="9740"/>
                  </a:lnTo>
                  <a:cubicBezTo>
                    <a:pt x="62541" y="-5173"/>
                    <a:pt x="33782" y="-2737"/>
                    <a:pt x="15506" y="15510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DB3B8326-69DA-49E8-D24A-AC4E6A4D8293}"/>
                </a:ext>
              </a:extLst>
            </p:cNvPr>
            <p:cNvSpPr/>
            <p:nvPr/>
          </p:nvSpPr>
          <p:spPr>
            <a:xfrm>
              <a:off x="3296214" y="2233480"/>
              <a:ext cx="251955" cy="252251"/>
            </a:xfrm>
            <a:custGeom>
              <a:avLst/>
              <a:gdLst>
                <a:gd name="connsiteX0" fmla="*/ 224672 w 251955"/>
                <a:gd name="connsiteY0" fmla="*/ 27229 h 252251"/>
                <a:gd name="connsiteX1" fmla="*/ 93430 w 251955"/>
                <a:gd name="connsiteY1" fmla="*/ 27134 h 252251"/>
                <a:gd name="connsiteX2" fmla="*/ 85887 w 251955"/>
                <a:gd name="connsiteY2" fmla="*/ 149952 h 252251"/>
                <a:gd name="connsiteX3" fmla="*/ 71344 w 251955"/>
                <a:gd name="connsiteY3" fmla="*/ 164495 h 252251"/>
                <a:gd name="connsiteX4" fmla="*/ 49002 w 251955"/>
                <a:gd name="connsiteY4" fmla="*/ 170424 h 252251"/>
                <a:gd name="connsiteX5" fmla="*/ 6799 w 251955"/>
                <a:gd name="connsiteY5" fmla="*/ 212627 h 252251"/>
                <a:gd name="connsiteX6" fmla="*/ 6799 w 251955"/>
                <a:gd name="connsiteY6" fmla="*/ 245453 h 252251"/>
                <a:gd name="connsiteX7" fmla="*/ 39625 w 251955"/>
                <a:gd name="connsiteY7" fmla="*/ 245453 h 252251"/>
                <a:gd name="connsiteX8" fmla="*/ 81828 w 251955"/>
                <a:gd name="connsiteY8" fmla="*/ 203250 h 252251"/>
                <a:gd name="connsiteX9" fmla="*/ 87757 w 251955"/>
                <a:gd name="connsiteY9" fmla="*/ 180908 h 252251"/>
                <a:gd name="connsiteX10" fmla="*/ 102346 w 251955"/>
                <a:gd name="connsiteY10" fmla="*/ 166319 h 252251"/>
                <a:gd name="connsiteX11" fmla="*/ 232530 w 251955"/>
                <a:gd name="connsiteY11" fmla="*/ 149761 h 252251"/>
                <a:gd name="connsiteX12" fmla="*/ 224672 w 251955"/>
                <a:gd name="connsiteY12" fmla="*/ 27229 h 252251"/>
                <a:gd name="connsiteX13" fmla="*/ 210606 w 251955"/>
                <a:gd name="connsiteY13" fmla="*/ 144461 h 252251"/>
                <a:gd name="connsiteX14" fmla="*/ 107444 w 251955"/>
                <a:gd name="connsiteY14" fmla="*/ 144464 h 252251"/>
                <a:gd name="connsiteX15" fmla="*/ 107441 w 251955"/>
                <a:gd name="connsiteY15" fmla="*/ 41301 h 252251"/>
                <a:gd name="connsiteX16" fmla="*/ 210604 w 251955"/>
                <a:gd name="connsiteY16" fmla="*/ 41299 h 252251"/>
                <a:gd name="connsiteX17" fmla="*/ 210606 w 251955"/>
                <a:gd name="connsiteY17" fmla="*/ 41301 h 252251"/>
                <a:gd name="connsiteX18" fmla="*/ 210606 w 251955"/>
                <a:gd name="connsiteY18" fmla="*/ 144461 h 252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1955" h="252251">
                  <a:moveTo>
                    <a:pt x="224672" y="27229"/>
                  </a:moveTo>
                  <a:cubicBezTo>
                    <a:pt x="188457" y="-9039"/>
                    <a:pt x="129697" y="-9082"/>
                    <a:pt x="93430" y="27134"/>
                  </a:cubicBezTo>
                  <a:cubicBezTo>
                    <a:pt x="60234" y="60282"/>
                    <a:pt x="56996" y="112991"/>
                    <a:pt x="85887" y="149952"/>
                  </a:cubicBezTo>
                  <a:lnTo>
                    <a:pt x="71344" y="164495"/>
                  </a:lnTo>
                  <a:cubicBezTo>
                    <a:pt x="63372" y="162336"/>
                    <a:pt x="54854" y="164597"/>
                    <a:pt x="49002" y="170424"/>
                  </a:cubicBezTo>
                  <a:lnTo>
                    <a:pt x="6799" y="212627"/>
                  </a:lnTo>
                  <a:cubicBezTo>
                    <a:pt x="-2266" y="221692"/>
                    <a:pt x="-2266" y="236389"/>
                    <a:pt x="6799" y="245453"/>
                  </a:cubicBezTo>
                  <a:cubicBezTo>
                    <a:pt x="15863" y="254518"/>
                    <a:pt x="30560" y="254518"/>
                    <a:pt x="39625" y="245453"/>
                  </a:cubicBezTo>
                  <a:lnTo>
                    <a:pt x="81828" y="203250"/>
                  </a:lnTo>
                  <a:cubicBezTo>
                    <a:pt x="87655" y="197398"/>
                    <a:pt x="89916" y="188880"/>
                    <a:pt x="87757" y="180908"/>
                  </a:cubicBezTo>
                  <a:lnTo>
                    <a:pt x="102346" y="166319"/>
                  </a:lnTo>
                  <a:cubicBezTo>
                    <a:pt x="142868" y="197696"/>
                    <a:pt x="201153" y="190282"/>
                    <a:pt x="232530" y="149761"/>
                  </a:cubicBezTo>
                  <a:cubicBezTo>
                    <a:pt x="261169" y="112774"/>
                    <a:pt x="257801" y="60254"/>
                    <a:pt x="224672" y="27229"/>
                  </a:cubicBezTo>
                  <a:close/>
                  <a:moveTo>
                    <a:pt x="210606" y="144461"/>
                  </a:moveTo>
                  <a:cubicBezTo>
                    <a:pt x="182119" y="172950"/>
                    <a:pt x="135932" y="172951"/>
                    <a:pt x="107444" y="144464"/>
                  </a:cubicBezTo>
                  <a:cubicBezTo>
                    <a:pt x="78955" y="115977"/>
                    <a:pt x="78954" y="69789"/>
                    <a:pt x="107441" y="41301"/>
                  </a:cubicBezTo>
                  <a:cubicBezTo>
                    <a:pt x="135928" y="12812"/>
                    <a:pt x="182116" y="12812"/>
                    <a:pt x="210604" y="41299"/>
                  </a:cubicBezTo>
                  <a:cubicBezTo>
                    <a:pt x="210605" y="41299"/>
                    <a:pt x="210606" y="41300"/>
                    <a:pt x="210606" y="41301"/>
                  </a:cubicBezTo>
                  <a:cubicBezTo>
                    <a:pt x="239048" y="69806"/>
                    <a:pt x="239048" y="115956"/>
                    <a:pt x="210606" y="144461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5" name="Grafik 14" descr="Route zwei Stecknadeln mit Weg mit einfarbiger Füllung">
            <a:extLst>
              <a:ext uri="{FF2B5EF4-FFF2-40B4-BE49-F238E27FC236}">
                <a16:creationId xmlns:a16="http://schemas.microsoft.com/office/drawing/2014/main" id="{945DB2A6-6EE6-DBF3-38E9-721C18E232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51508" y="2856759"/>
            <a:ext cx="544634" cy="544634"/>
          </a:xfrm>
          <a:prstGeom prst="rect">
            <a:avLst/>
          </a:prstGeom>
          <a:effectLst/>
        </p:spPr>
      </p:pic>
      <p:pic>
        <p:nvPicPr>
          <p:cNvPr id="16" name="Grafik 15" descr="Stoppuhr mit einfarbiger Füllung">
            <a:extLst>
              <a:ext uri="{FF2B5EF4-FFF2-40B4-BE49-F238E27FC236}">
                <a16:creationId xmlns:a16="http://schemas.microsoft.com/office/drawing/2014/main" id="{FE77C7B6-B275-0DC0-F666-8B3EFBD00F4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28916" y="4696520"/>
            <a:ext cx="618564" cy="618564"/>
          </a:xfrm>
          <a:prstGeom prst="rect">
            <a:avLst/>
          </a:prstGeom>
          <a:effectLst/>
        </p:spPr>
      </p:pic>
      <p:pic>
        <p:nvPicPr>
          <p:cNvPr id="17" name="Grafik 16" descr="LKW mit einfarbiger Füllung">
            <a:extLst>
              <a:ext uri="{FF2B5EF4-FFF2-40B4-BE49-F238E27FC236}">
                <a16:creationId xmlns:a16="http://schemas.microsoft.com/office/drawing/2014/main" id="{C8066F32-AF80-16B0-45CB-A6454EB521F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04408" y="5648473"/>
            <a:ext cx="618564" cy="618564"/>
          </a:xfrm>
          <a:prstGeom prst="rect">
            <a:avLst/>
          </a:prstGeom>
          <a:effectLst/>
        </p:spPr>
      </p:pic>
      <p:pic>
        <p:nvPicPr>
          <p:cNvPr id="18" name="Grafik 17" descr="Martinshorn mit einfarbiger Füllung">
            <a:extLst>
              <a:ext uri="{FF2B5EF4-FFF2-40B4-BE49-F238E27FC236}">
                <a16:creationId xmlns:a16="http://schemas.microsoft.com/office/drawing/2014/main" id="{B7307C78-B25A-9077-0BD2-C38F9D09EE0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575601" y="3761417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2662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9CCCF-213E-CCBE-9A83-5D301587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56" y="2676766"/>
            <a:ext cx="10515600" cy="132556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9046549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1EDF37-8369-E782-24D6-A14B125776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958578E-85D8-222C-8E38-DAC22BC2A9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ogi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2DD974E-44EE-4D09-3558-83FCC603D9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DO Fleet App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108D93B-18D4-79EB-35A2-FC3FDA97FF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A704E7-059E-174F-A8DE-CAC1A3940903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5F90E34-CE56-2A8F-6908-598D814802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 err="1"/>
              <a:t>Bestuurder</a:t>
            </a:r>
            <a:r>
              <a:rPr lang="en-US" b="1" dirty="0"/>
              <a:t> (gratis)</a:t>
            </a:r>
          </a:p>
          <a:p>
            <a:pPr lvl="1">
              <a:lnSpc>
                <a:spcPct val="120000"/>
              </a:lnSpc>
            </a:pPr>
            <a:r>
              <a:rPr lang="nl-NL" sz="2100" dirty="0"/>
              <a:t>Manuele invoer</a:t>
            </a:r>
          </a:p>
          <a:p>
            <a:pPr lvl="1">
              <a:lnSpc>
                <a:spcPct val="120000"/>
              </a:lnSpc>
            </a:pPr>
            <a:r>
              <a:rPr lang="en-US" sz="2100" dirty="0"/>
              <a:t>Remote Control</a:t>
            </a:r>
          </a:p>
          <a:p>
            <a:pPr lvl="1">
              <a:lnSpc>
                <a:spcPct val="120000"/>
              </a:lnSpc>
            </a:pPr>
            <a:r>
              <a:rPr lang="en-US" sz="2100" dirty="0"/>
              <a:t>VDO Counter</a:t>
            </a:r>
          </a:p>
          <a:p>
            <a:pPr lvl="1"/>
            <a:endParaRPr lang="en-US" b="1" dirty="0"/>
          </a:p>
          <a:p>
            <a:pPr marL="0" indent="0">
              <a:buNone/>
            </a:pPr>
            <a:r>
              <a:rPr lang="en-US" b="1" dirty="0" err="1"/>
              <a:t>Fleetowner</a:t>
            </a:r>
            <a:r>
              <a:rPr lang="en-US" b="1" dirty="0"/>
              <a:t> (</a:t>
            </a:r>
            <a:r>
              <a:rPr lang="en-US" b="1" dirty="0" err="1"/>
              <a:t>icm</a:t>
            </a:r>
            <a:r>
              <a:rPr lang="en-US" b="1" dirty="0"/>
              <a:t> VDO Fleet account)</a:t>
            </a:r>
          </a:p>
          <a:p>
            <a:pPr lvl="1">
              <a:lnSpc>
                <a:spcPct val="120000"/>
              </a:lnSpc>
            </a:pPr>
            <a:r>
              <a:rPr lang="nl-NL" sz="1900" dirty="0"/>
              <a:t>Downloaden via DTCO/DLK</a:t>
            </a:r>
          </a:p>
          <a:p>
            <a:pPr lvl="1">
              <a:lnSpc>
                <a:spcPct val="120000"/>
              </a:lnSpc>
            </a:pPr>
            <a:r>
              <a:rPr lang="en-US" sz="1900" dirty="0" err="1"/>
              <a:t>Herinneringen</a:t>
            </a:r>
            <a:endParaRPr lang="en-US" sz="1900" dirty="0"/>
          </a:p>
          <a:p>
            <a:pPr lvl="1">
              <a:lnSpc>
                <a:spcPct val="120000"/>
              </a:lnSpc>
            </a:pPr>
            <a:r>
              <a:rPr lang="en-US" sz="1900" dirty="0"/>
              <a:t>Maps – Tracking &amp; Tracing</a:t>
            </a:r>
            <a:br>
              <a:rPr lang="en-US" sz="1900" dirty="0"/>
            </a:br>
            <a:endParaRPr lang="en-US" sz="1900" b="1" dirty="0"/>
          </a:p>
          <a:p>
            <a:pPr marL="0" indent="0">
              <a:buNone/>
            </a:pPr>
            <a:r>
              <a:rPr lang="en-US" sz="1900" b="1" dirty="0"/>
              <a:t>Alle </a:t>
            </a:r>
            <a:r>
              <a:rPr lang="en-US" sz="1900" b="1" dirty="0" err="1"/>
              <a:t>functies</a:t>
            </a:r>
            <a:r>
              <a:rPr lang="en-US" sz="1900" b="1" dirty="0"/>
              <a:t> </a:t>
            </a:r>
            <a:r>
              <a:rPr lang="en-US" sz="1900" b="1" dirty="0" err="1"/>
              <a:t>vanaf</a:t>
            </a:r>
            <a:r>
              <a:rPr lang="en-US" sz="1900" b="1" dirty="0"/>
              <a:t> VDO </a:t>
            </a:r>
            <a:r>
              <a:rPr lang="nl-NL" sz="1900" b="1" dirty="0"/>
              <a:t>DTCO 4.1a </a:t>
            </a:r>
            <a:endParaRPr lang="en-US" sz="1900" b="1" dirty="0"/>
          </a:p>
        </p:txBody>
      </p:sp>
      <p:pic>
        <p:nvPicPr>
          <p:cNvPr id="5" name="Inhaltsplatzhalter 9" descr="Ein Bild, das Text, Screensho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415757CC-94BD-91B3-B39B-CEEFDE08CC2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5552" y="1702373"/>
            <a:ext cx="2155971" cy="4214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867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03CBD3-5CA2-1C3E-254A-5FBBD546BA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3F39EC-48D0-EA32-EF99-4BFE67F5C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AC5F908-3D50-0E37-9539-24456BCC84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Voor </a:t>
            </a:r>
            <a:r>
              <a:rPr lang="en-US" dirty="0" err="1"/>
              <a:t>bestuurder</a:t>
            </a:r>
            <a:r>
              <a:rPr lang="en-US" dirty="0"/>
              <a:t> 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A374062-DFDF-DCCA-7CFD-A8FDD2EAC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DO Fleet App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31B5E92-F490-363E-2187-A93583D2B0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A704E7-059E-174F-A8DE-CAC1A3940903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7E895D8-5581-12BC-785C-C6F86B0DF7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91440" tIns="45720" rIns="91440" bIns="45720" rtlCol="0">
            <a:normAutofit fontScale="77500" lnSpcReduction="20000"/>
          </a:bodyPr>
          <a:lstStyle/>
          <a:p>
            <a:pPr marL="0" indent="0">
              <a:buNone/>
            </a:pPr>
            <a:r>
              <a:rPr lang="en-US" sz="3400" b="1" dirty="0" err="1"/>
              <a:t>Manuale</a:t>
            </a:r>
            <a:r>
              <a:rPr lang="en-US" sz="3400" b="1" dirty="0"/>
              <a:t> </a:t>
            </a:r>
            <a:r>
              <a:rPr lang="en-US" sz="3400" b="1" dirty="0" err="1"/>
              <a:t>invoer</a:t>
            </a:r>
            <a:endParaRPr lang="en-US" sz="3400" b="1" dirty="0"/>
          </a:p>
          <a:p>
            <a:pPr lvl="1">
              <a:lnSpc>
                <a:spcPct val="120000"/>
              </a:lnSpc>
            </a:pPr>
            <a:r>
              <a:rPr lang="nl-NL" sz="2300" dirty="0"/>
              <a:t>Maak handmatige invoer aan en verstuur deze rechtstreeks naar de DTCO </a:t>
            </a:r>
            <a:endParaRPr lang="en-US" sz="2300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3400" b="1" dirty="0"/>
              <a:t>Remote Control</a:t>
            </a:r>
          </a:p>
          <a:p>
            <a:pPr lvl="1">
              <a:lnSpc>
                <a:spcPct val="120000"/>
              </a:lnSpc>
            </a:pPr>
            <a:r>
              <a:rPr lang="en-US" sz="2300" dirty="0" err="1"/>
              <a:t>Bedien</a:t>
            </a:r>
            <a:r>
              <a:rPr lang="en-US" sz="2300" dirty="0"/>
              <a:t> </a:t>
            </a:r>
            <a:r>
              <a:rPr lang="en-US" sz="2300" dirty="0" err="1"/>
              <a:t>functies</a:t>
            </a:r>
            <a:r>
              <a:rPr lang="en-US" sz="2300" dirty="0"/>
              <a:t> </a:t>
            </a:r>
            <a:r>
              <a:rPr lang="en-US" sz="2300" dirty="0" err="1"/>
              <a:t>eenvoudig</a:t>
            </a:r>
            <a:r>
              <a:rPr lang="en-US" sz="2300" dirty="0"/>
              <a:t> via de app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3400" b="1" dirty="0"/>
              <a:t>VDO Counter</a:t>
            </a:r>
          </a:p>
          <a:p>
            <a:pPr lvl="1">
              <a:lnSpc>
                <a:spcPct val="120000"/>
              </a:lnSpc>
            </a:pPr>
            <a:r>
              <a:rPr lang="en-US" sz="2300" dirty="0" err="1"/>
              <a:t>Resterende</a:t>
            </a:r>
            <a:r>
              <a:rPr lang="en-US" sz="2300" dirty="0"/>
              <a:t> </a:t>
            </a:r>
            <a:r>
              <a:rPr lang="en-US" sz="2300" dirty="0" err="1"/>
              <a:t>rij</a:t>
            </a:r>
            <a:r>
              <a:rPr lang="en-US" sz="2300" dirty="0"/>
              <a:t>- </a:t>
            </a:r>
            <a:r>
              <a:rPr lang="en-US" sz="2300" dirty="0" err="1"/>
              <a:t>werk</a:t>
            </a:r>
            <a:r>
              <a:rPr lang="en-US" sz="2300" dirty="0"/>
              <a:t>- en </a:t>
            </a:r>
            <a:r>
              <a:rPr lang="en-US" sz="2300" dirty="0" err="1"/>
              <a:t>rusttijden</a:t>
            </a:r>
            <a:r>
              <a:rPr lang="en-US" sz="2300" dirty="0"/>
              <a:t> </a:t>
            </a:r>
            <a:r>
              <a:rPr lang="en-US" sz="2300" dirty="0" err="1"/>
              <a:t>gedetailleerd</a:t>
            </a:r>
            <a:r>
              <a:rPr lang="en-US" sz="2300" dirty="0"/>
              <a:t> </a:t>
            </a:r>
            <a:br>
              <a:rPr lang="en-US" sz="2300" dirty="0"/>
            </a:br>
            <a:r>
              <a:rPr lang="en-US" sz="2300" dirty="0" err="1"/>
              <a:t>weergegeven</a:t>
            </a:r>
            <a:r>
              <a:rPr lang="en-US" sz="2300" dirty="0"/>
              <a:t> per </a:t>
            </a:r>
            <a:r>
              <a:rPr lang="en-US" sz="2300" dirty="0" err="1"/>
              <a:t>dag</a:t>
            </a:r>
            <a:r>
              <a:rPr lang="en-US" sz="2300" dirty="0"/>
              <a:t> </a:t>
            </a:r>
            <a:r>
              <a:rPr lang="en-US" sz="2300" dirty="0" err="1"/>
              <a:t>en</a:t>
            </a:r>
            <a:r>
              <a:rPr lang="en-US" sz="2300" dirty="0"/>
              <a:t> week</a:t>
            </a:r>
            <a:endParaRPr lang="en-US" sz="2100" dirty="0"/>
          </a:p>
          <a:p>
            <a:pPr lvl="1">
              <a:lnSpc>
                <a:spcPct val="120000"/>
              </a:lnSpc>
            </a:pPr>
            <a:endParaRPr lang="en-US" sz="1900" dirty="0"/>
          </a:p>
          <a:p>
            <a:pPr marL="0" indent="0">
              <a:buNone/>
            </a:pPr>
            <a:r>
              <a:rPr lang="en-US" sz="2300" b="1" dirty="0"/>
              <a:t>Alle </a:t>
            </a:r>
            <a:r>
              <a:rPr lang="en-US" sz="2300" b="1" dirty="0" err="1"/>
              <a:t>functies</a:t>
            </a:r>
            <a:r>
              <a:rPr lang="en-US" sz="2300" b="1" dirty="0"/>
              <a:t> </a:t>
            </a:r>
            <a:r>
              <a:rPr lang="en-US" sz="2300" b="1" dirty="0" err="1"/>
              <a:t>vanaf</a:t>
            </a:r>
            <a:r>
              <a:rPr lang="en-US" sz="2300" b="1" dirty="0"/>
              <a:t> VDO </a:t>
            </a:r>
            <a:r>
              <a:rPr lang="nl-NL" sz="2300" b="1" dirty="0"/>
              <a:t>DTCO 4.1a</a:t>
            </a:r>
            <a:br>
              <a:rPr lang="en-US" sz="2100" b="1" dirty="0"/>
            </a:br>
            <a:endParaRPr lang="en-US" sz="21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BDE2616-0B11-A79C-8912-CA0BC59EDF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00679" y="1753299"/>
            <a:ext cx="2272789" cy="458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565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0EA023F-FDAD-E3E8-7CEE-3AA42DEBB2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FBE86C-FE79-EF9D-FE3C-BB69E998DC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stuurder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DD4209F-666B-D4D8-FB4F-8A77D9AF2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DO Fleet Ap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7825EF-1A3E-BA5D-323F-2B9CB69AC7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A704E7-059E-174F-A8DE-CAC1A3940903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7" name="Inhaltsplatzhalter 9" descr="Ein Bild, das Text, Screensho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F53307F7-A4EE-216E-2583-349196E51AC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22" y="1688236"/>
            <a:ext cx="2350195" cy="4652537"/>
          </a:xfrm>
          <a:prstGeom prst="rect">
            <a:avLst/>
          </a:prstGeom>
        </p:spPr>
      </p:pic>
      <p:pic>
        <p:nvPicPr>
          <p:cNvPr id="14" name="Inhaltsplatzhalter 17" descr="Ein Bild, das Elektronik, Screenshot, Text, mobiles Gerät enthält.&#10;&#10;KI-generierte Inhalte können fehlerhaft sein.">
            <a:extLst>
              <a:ext uri="{FF2B5EF4-FFF2-40B4-BE49-F238E27FC236}">
                <a16:creationId xmlns:a16="http://schemas.microsoft.com/office/drawing/2014/main" id="{E4EBCE3A-668E-E8D3-9912-2E354E9C3D5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5188" y="1770362"/>
            <a:ext cx="2281624" cy="4572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286A7206-765B-FC96-3EA2-B30377240B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85215" y="1431808"/>
            <a:ext cx="1728192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</a:rPr>
              <a:t>Remote Control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53095D0-DB7B-2AA0-892B-ABD38B9C7A6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231904" y="1424435"/>
            <a:ext cx="1728192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000000"/>
                </a:solidFill>
              </a:rPr>
              <a:t>Manual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invoer</a:t>
            </a:r>
            <a:endParaRPr lang="en-US" sz="1600" b="0" i="0" u="none" baseline="0" dirty="0">
              <a:solidFill>
                <a:srgbClr val="000000"/>
              </a:solidFill>
            </a:endParaRPr>
          </a:p>
        </p:txBody>
      </p:sp>
      <p:pic>
        <p:nvPicPr>
          <p:cNvPr id="6" name="Inhaltsplatzhalter 13" descr="Ein Bild, das Text, Elektronik, Screenshot, Handy enthält.&#10;&#10;KI-generierte Inhalte können fehlerhaft sein.">
            <a:extLst>
              <a:ext uri="{FF2B5EF4-FFF2-40B4-BE49-F238E27FC236}">
                <a16:creationId xmlns:a16="http://schemas.microsoft.com/office/drawing/2014/main" id="{4CFF5338-40AC-6A74-6E19-8596017F262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1622" y="1769428"/>
            <a:ext cx="2312894" cy="4572000"/>
          </a:xfrm>
          <a:prstGeom prst="rect">
            <a:avLst/>
          </a:prstGeom>
        </p:spPr>
      </p:pic>
      <p:sp>
        <p:nvSpPr>
          <p:cNvPr id="8" name="Textfeld 15">
            <a:extLst>
              <a:ext uri="{FF2B5EF4-FFF2-40B4-BE49-F238E27FC236}">
                <a16:creationId xmlns:a16="http://schemas.microsoft.com/office/drawing/2014/main" id="{05675F59-F107-2016-4489-889A046136A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100631" y="1425833"/>
            <a:ext cx="1728192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</a:rPr>
              <a:t>Counter</a:t>
            </a:r>
            <a:endParaRPr lang="en-US" sz="1600" b="0" i="0" u="none" baseline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241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58E85-72FD-5F53-BD49-9DDAB5BFC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E9BA72-DCE1-511E-0651-30B00172C6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F881104-B422-45AB-CF29-9FF041AF73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Voor </a:t>
            </a:r>
            <a:r>
              <a:rPr lang="en-US" dirty="0" err="1"/>
              <a:t>fleetowner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0A39052-74C5-DA6D-7DD4-C851422BC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DO Fleet App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F401721-4745-46AC-E6B2-AF265C8D22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A704E7-059E-174F-A8DE-CAC1A3940903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A1D3099-4255-D467-99B2-3279ABDCAF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91440" tIns="45720" rIns="91440" bIns="45720" rtlCol="0">
            <a:normAutofit fontScale="70000" lnSpcReduction="20000"/>
          </a:bodyPr>
          <a:lstStyle/>
          <a:p>
            <a:pPr marL="0" indent="0">
              <a:buNone/>
            </a:pPr>
            <a:r>
              <a:rPr lang="en-US" sz="3700" b="1" dirty="0"/>
              <a:t>Maps </a:t>
            </a:r>
          </a:p>
          <a:p>
            <a:pPr lvl="1">
              <a:lnSpc>
                <a:spcPct val="120000"/>
              </a:lnSpc>
            </a:pPr>
            <a:r>
              <a:rPr lang="nl-NL" sz="2600" dirty="0"/>
              <a:t>Maak handmatige invoergegevens aan en verstuur deze rechtstreeks </a:t>
            </a:r>
            <a:br>
              <a:rPr lang="nl-NL" sz="2600" dirty="0"/>
            </a:br>
            <a:r>
              <a:rPr lang="nl-NL" sz="2600" dirty="0"/>
              <a:t>via de app naar de DTCO </a:t>
            </a:r>
            <a:endParaRPr lang="en-US" sz="2600" dirty="0"/>
          </a:p>
          <a:p>
            <a:pPr marL="0" indent="0">
              <a:buNone/>
            </a:pPr>
            <a:endParaRPr lang="en-US" sz="2900" dirty="0"/>
          </a:p>
          <a:p>
            <a:pPr marL="0" indent="0">
              <a:buNone/>
            </a:pPr>
            <a:r>
              <a:rPr lang="en-US" sz="3700" b="1" dirty="0"/>
              <a:t>Remote Control</a:t>
            </a:r>
          </a:p>
          <a:p>
            <a:pPr lvl="1">
              <a:lnSpc>
                <a:spcPct val="120000"/>
              </a:lnSpc>
            </a:pPr>
            <a:r>
              <a:rPr lang="en-US" sz="2600" dirty="0" err="1"/>
              <a:t>Bedien</a:t>
            </a:r>
            <a:r>
              <a:rPr lang="en-US" sz="2600" dirty="0"/>
              <a:t> </a:t>
            </a:r>
            <a:r>
              <a:rPr lang="en-US" sz="2600" dirty="0" err="1"/>
              <a:t>werk</a:t>
            </a:r>
            <a:r>
              <a:rPr lang="en-US" sz="2600" dirty="0"/>
              <a:t> </a:t>
            </a:r>
            <a:r>
              <a:rPr lang="en-US" sz="2600" dirty="0" err="1"/>
              <a:t>activiteiten</a:t>
            </a:r>
            <a:r>
              <a:rPr lang="en-US" sz="2600" dirty="0"/>
              <a:t> </a:t>
            </a:r>
            <a:r>
              <a:rPr lang="en-US" sz="2600" dirty="0" err="1"/>
              <a:t>eenvoudig</a:t>
            </a:r>
            <a:r>
              <a:rPr lang="en-US" sz="2600" dirty="0"/>
              <a:t> via de app</a:t>
            </a:r>
          </a:p>
          <a:p>
            <a:pPr marL="0" indent="0">
              <a:buNone/>
            </a:pPr>
            <a:endParaRPr lang="en-US" sz="2600" dirty="0"/>
          </a:p>
          <a:p>
            <a:pPr marL="0" indent="0">
              <a:buNone/>
            </a:pPr>
            <a:r>
              <a:rPr lang="en-US" sz="3700" b="1" dirty="0"/>
              <a:t>VDO Counter</a:t>
            </a:r>
          </a:p>
          <a:p>
            <a:pPr lvl="1">
              <a:lnSpc>
                <a:spcPct val="120000"/>
              </a:lnSpc>
            </a:pPr>
            <a:r>
              <a:rPr lang="en-US" sz="2600" dirty="0" err="1"/>
              <a:t>Resterende</a:t>
            </a:r>
            <a:r>
              <a:rPr lang="en-US" sz="2600" dirty="0"/>
              <a:t> </a:t>
            </a:r>
            <a:r>
              <a:rPr lang="en-US" sz="2600" dirty="0" err="1"/>
              <a:t>rij</a:t>
            </a:r>
            <a:r>
              <a:rPr lang="en-US" sz="2600" dirty="0"/>
              <a:t>- </a:t>
            </a:r>
            <a:r>
              <a:rPr lang="en-US" sz="2600" dirty="0" err="1"/>
              <a:t>werk</a:t>
            </a:r>
            <a:r>
              <a:rPr lang="en-US" sz="2600" dirty="0"/>
              <a:t>- en </a:t>
            </a:r>
            <a:r>
              <a:rPr lang="en-US" sz="2600" dirty="0" err="1"/>
              <a:t>rusttijden</a:t>
            </a:r>
            <a:r>
              <a:rPr lang="en-US" sz="2600" dirty="0"/>
              <a:t> </a:t>
            </a:r>
            <a:r>
              <a:rPr lang="en-US" sz="2600" dirty="0" err="1"/>
              <a:t>gedetailleerd</a:t>
            </a:r>
            <a:r>
              <a:rPr lang="en-US" sz="2600" dirty="0"/>
              <a:t> </a:t>
            </a:r>
            <a:r>
              <a:rPr lang="en-US" sz="2600" dirty="0" err="1"/>
              <a:t>weergegeven</a:t>
            </a:r>
            <a:r>
              <a:rPr lang="en-US" sz="2600" dirty="0"/>
              <a:t> per </a:t>
            </a:r>
            <a:r>
              <a:rPr lang="en-US" sz="2600" dirty="0" err="1"/>
              <a:t>dag</a:t>
            </a:r>
            <a:r>
              <a:rPr lang="en-US" sz="2600" dirty="0"/>
              <a:t> </a:t>
            </a:r>
            <a:r>
              <a:rPr lang="en-US" sz="2600" dirty="0" err="1"/>
              <a:t>en</a:t>
            </a:r>
            <a:r>
              <a:rPr lang="en-US" sz="2600" dirty="0"/>
              <a:t> week</a:t>
            </a:r>
            <a:endParaRPr lang="en-US" sz="2300" dirty="0"/>
          </a:p>
          <a:p>
            <a:pPr marL="0" indent="0">
              <a:lnSpc>
                <a:spcPct val="120000"/>
              </a:lnSpc>
              <a:buNone/>
            </a:pPr>
            <a:r>
              <a:rPr lang="en-US" sz="2600" b="1" dirty="0"/>
              <a:t>Alle </a:t>
            </a:r>
            <a:r>
              <a:rPr lang="en-US" sz="2600" b="1" dirty="0" err="1"/>
              <a:t>functies</a:t>
            </a:r>
            <a:r>
              <a:rPr lang="en-US" sz="2600" b="1" dirty="0"/>
              <a:t> </a:t>
            </a:r>
            <a:r>
              <a:rPr lang="en-US" sz="2600" b="1" dirty="0" err="1"/>
              <a:t>vanaf</a:t>
            </a:r>
            <a:r>
              <a:rPr lang="en-US" sz="2600" b="1" dirty="0"/>
              <a:t> VDO </a:t>
            </a:r>
            <a:r>
              <a:rPr lang="nl-NL" sz="2600" b="1" dirty="0"/>
              <a:t>DTCO 4.1a</a:t>
            </a:r>
            <a:br>
              <a:rPr lang="en-US" sz="2600" b="1" dirty="0"/>
            </a:br>
            <a:endParaRPr lang="en-US" sz="2600" b="1" dirty="0"/>
          </a:p>
        </p:txBody>
      </p:sp>
      <p:pic>
        <p:nvPicPr>
          <p:cNvPr id="5" name="Inhaltsplatzhalter 13" descr="Ein Bild, das Text, Elektronik, Screenshot, Handy enthält.&#10;&#10;KI-generierte Inhalte können fehlerhaft sein.">
            <a:extLst>
              <a:ext uri="{FF2B5EF4-FFF2-40B4-BE49-F238E27FC236}">
                <a16:creationId xmlns:a16="http://schemas.microsoft.com/office/drawing/2014/main" id="{F46FDBA2-4F46-AC46-A223-4D735FDDE4C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3389" y="1989138"/>
            <a:ext cx="1985800" cy="392541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0921251-AC81-B0BE-4590-0620B19530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639" y="1997104"/>
            <a:ext cx="1941771" cy="391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146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0EA023F-FDAD-E3E8-7CEE-3AA42DEBB2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FBE86C-FE79-EF9D-FE3C-BB69E998DC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Voor </a:t>
            </a:r>
            <a:r>
              <a:rPr lang="en-US" dirty="0" err="1"/>
              <a:t>fleetowner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DD4209F-666B-D4D8-FB4F-8A77D9AF2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n-lt"/>
              </a:rPr>
              <a:t>VDO Fleet Ap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7825EF-1A3E-BA5D-323F-2B9CB69AC7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A704E7-059E-174F-A8DE-CAC1A3940903}" type="slidenum">
              <a:rPr lang="de-DE" smtClean="0">
                <a:latin typeface="+mn-lt"/>
              </a:rPr>
              <a:pPr/>
              <a:t>6</a:t>
            </a:fld>
            <a:endParaRPr lang="de-DE">
              <a:latin typeface="+mn-lt"/>
            </a:endParaRPr>
          </a:p>
        </p:txBody>
      </p:sp>
      <p:pic>
        <p:nvPicPr>
          <p:cNvPr id="8" name="Inhaltsplatzhalter 9" descr="Ein Bild, das Text, Screensho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92B1D437-9B7B-7942-A638-560C76E2A45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130" y="1776147"/>
            <a:ext cx="2357190" cy="4572000"/>
          </a:xfrm>
          <a:prstGeom prst="rect">
            <a:avLst/>
          </a:prstGeom>
        </p:spPr>
      </p:pic>
      <p:pic>
        <p:nvPicPr>
          <p:cNvPr id="9" name="Inhaltsplatzhalter 11" descr="Ein Bild, das Text, Screenshot, Handy, Kommunikationsgerät enthält.&#10;&#10;KI-generierte Inhalte können fehlerhaft sein.">
            <a:extLst>
              <a:ext uri="{FF2B5EF4-FFF2-40B4-BE49-F238E27FC236}">
                <a16:creationId xmlns:a16="http://schemas.microsoft.com/office/drawing/2014/main" id="{1FC6A9F1-D4DC-E208-ABD6-2C3EF6B6A14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0019" y="1777735"/>
            <a:ext cx="2290375" cy="4572000"/>
          </a:xfrm>
          <a:prstGeom prst="rect">
            <a:avLst/>
          </a:prstGeom>
        </p:spPr>
      </p:pic>
      <p:pic>
        <p:nvPicPr>
          <p:cNvPr id="10" name="Inhaltsplatzhalter 13" descr="Ein Bild, das Text, Elektronik, Screenshot, mobiles Gerät enthält.&#10;&#10;KI-generierte Inhalte können fehlerhaft sein.">
            <a:extLst>
              <a:ext uri="{FF2B5EF4-FFF2-40B4-BE49-F238E27FC236}">
                <a16:creationId xmlns:a16="http://schemas.microsoft.com/office/drawing/2014/main" id="{FFF32A40-9EB6-CA13-C76A-5164A42299C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2815" y="1776147"/>
            <a:ext cx="2290508" cy="457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0CE1CD8-7D7E-401F-1D61-BFC65384468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91817" y="1439181"/>
            <a:ext cx="2290374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</a:rPr>
              <a:t>DTCO/DLK Download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CBADA3C-2BA9-3002-F16F-60BD27C68F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090682" y="1439181"/>
            <a:ext cx="2090294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</a:rPr>
              <a:t>Maps Track &amp; Trac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D8BEC20-6D24-092C-E40F-1B692ADA35F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875136" y="1431808"/>
            <a:ext cx="2290373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>
                <a:solidFill>
                  <a:srgbClr val="000000"/>
                </a:solidFill>
              </a:rPr>
              <a:t>Download Reminders</a:t>
            </a:r>
          </a:p>
        </p:txBody>
      </p:sp>
    </p:spTree>
    <p:extLst>
      <p:ext uri="{BB962C8B-B14F-4D97-AF65-F5344CB8AC3E}">
        <p14:creationId xmlns:p14="http://schemas.microsoft.com/office/powerpoint/2010/main" val="812645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9AC9435-9037-ED67-B797-816380C4A2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3A8E6E7-0FE4-63FC-E003-E3698BA9B7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to-Connect voor bluetooth connectie met bestuurderskaart</a:t>
            </a:r>
          </a:p>
          <a:p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8D7139C6-9989-C0AA-37E8-85937C63B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luetooth connecti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BB70DC1-ED8D-908F-80CE-3830103EA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A704E7-059E-174F-A8DE-CAC1A394090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2CD7173-6D52-A2CC-F64A-E88EF54A79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7" name="1_App Auto Connect">
            <a:hlinkClick r:id="" action="ppaction://media"/>
            <a:extLst>
              <a:ext uri="{FF2B5EF4-FFF2-40B4-BE49-F238E27FC236}">
                <a16:creationId xmlns:a16="http://schemas.microsoft.com/office/drawing/2014/main" id="{961A5127-2F39-E591-FD34-0F5BD294997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7808975" y="1974574"/>
            <a:ext cx="2267567" cy="4031229"/>
          </a:xfrm>
          <a:prstGeom prst="rect">
            <a:avLst/>
          </a:prstGeom>
        </p:spPr>
      </p:pic>
      <p:pic>
        <p:nvPicPr>
          <p:cNvPr id="19" name="1_1_DTCO Auto Connect">
            <a:hlinkClick r:id="" action="ppaction://media"/>
            <a:extLst>
              <a:ext uri="{FF2B5EF4-FFF2-40B4-BE49-F238E27FC236}">
                <a16:creationId xmlns:a16="http://schemas.microsoft.com/office/drawing/2014/main" id="{68C693C0-A070-4A91-E3B2-5AEB4F59B366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23310" y="2564921"/>
            <a:ext cx="4949952" cy="2784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177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6232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45394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9" fill="hold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  <p:video>
              <p:cMediaNode vol="80000" mute="1">
                <p:cTn id="10" fill="hold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84DBEDF-8042-7BC8-A580-3DAB1999EA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3666D2-8AB9-BE05-98F5-1E473A6DD6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indent="-228600"/>
            <a:r>
              <a:rPr lang="en-US" sz="2600" dirty="0" err="1"/>
              <a:t>Bedienfuncties</a:t>
            </a:r>
            <a:r>
              <a:rPr lang="en-US" sz="2600" dirty="0"/>
              <a:t> via de app</a:t>
            </a:r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2A89-01D7-F948-0A4E-808313B8D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mote Contro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F76DF3-A5EF-1B33-E29C-933667348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A704E7-059E-174F-A8DE-CAC1A394090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323A50-88DB-E409-2612-74C639CAC0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3_DTCO Kartenauswurf">
            <a:hlinkClick r:id="" action="ppaction://media"/>
            <a:extLst>
              <a:ext uri="{FF2B5EF4-FFF2-40B4-BE49-F238E27FC236}">
                <a16:creationId xmlns:a16="http://schemas.microsoft.com/office/drawing/2014/main" id="{97025D8D-2084-98C6-F4F2-EE969C129A5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90742" y="2572473"/>
            <a:ext cx="5094362" cy="2865579"/>
          </a:xfrm>
          <a:prstGeom prst="rect">
            <a:avLst/>
          </a:prstGeom>
        </p:spPr>
      </p:pic>
      <p:pic>
        <p:nvPicPr>
          <p:cNvPr id="12" name="3_33 App Kartenauswurf">
            <a:hlinkClick r:id="" action="ppaction://media"/>
            <a:extLst>
              <a:ext uri="{FF2B5EF4-FFF2-40B4-BE49-F238E27FC236}">
                <a16:creationId xmlns:a16="http://schemas.microsoft.com/office/drawing/2014/main" id="{D144BFD3-09E5-4EF4-ABFA-4016F6B11473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900416" y="1993358"/>
            <a:ext cx="2046598" cy="3997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949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1478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5550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video>
              <p:cMediaNode vol="80000" mute="1">
                <p:cTn id="10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17A22F6-757B-CC32-29F0-E0F5D30FD8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78AD9E-8122-405E-8C23-98286A16A8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reëren en versturen van manuele invoer</a:t>
            </a:r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7B4E8B6-D942-8012-8315-059D935AD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nuele invo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DEC0D-FC13-4C7D-6ABB-A13C51D995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A704E7-059E-174F-A8DE-CAC1A394090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E1849E9-B42D-BDED-AB39-DA667802D0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4_App Manual Entry senden">
            <a:hlinkClick r:id="" action="ppaction://media"/>
            <a:extLst>
              <a:ext uri="{FF2B5EF4-FFF2-40B4-BE49-F238E27FC236}">
                <a16:creationId xmlns:a16="http://schemas.microsoft.com/office/drawing/2014/main" id="{B793D380-7E21-899A-4A99-B3F84644FC3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7924800" y="1978713"/>
            <a:ext cx="2257047" cy="4012528"/>
          </a:xfrm>
          <a:prstGeom prst="rect">
            <a:avLst/>
          </a:prstGeom>
        </p:spPr>
      </p:pic>
      <p:pic>
        <p:nvPicPr>
          <p:cNvPr id="7" name="Media3low">
            <a:hlinkClick r:id="" action="ppaction://media"/>
            <a:extLst>
              <a:ext uri="{FF2B5EF4-FFF2-40B4-BE49-F238E27FC236}">
                <a16:creationId xmlns:a16="http://schemas.microsoft.com/office/drawing/2014/main" id="{899CA3C3-7FA2-22CD-3734-511826A2ECD8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00596" y="2552785"/>
            <a:ext cx="5092236" cy="2864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912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933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0720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11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13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4" fill="hold">
                      <p:stCondLst>
                        <p:cond delay="0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7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5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5ok3G2U5QFBub511WlaCFcEAAAAAAADAAAAAAADAAAAAwADAAAAAAADAAAABAADAAAAAAD///////8DAAAAAAD///////8DAAEA////////BQAAAAMAEAALlJICemHX3UOx2LNx74qLFwQAAAABAAMAAAACAAMAAAAEAAQAAgD///////8FAAAABAAQAAsS3BGX/egiRaOcB8YI+XFO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CwOAAAAAAAAAAAAAP////+dAJ0AAAAFX2lkABAAAAAEmiTcbZTlAUG5vnXVaVoIVwNEYXRhACoAAAAIUHJlc2VudGF0aW9uU2Nhbm5lZEZvckxpbmtlZFNoYXBlcwABAAJOYW1lACQAAABMaW5rZWRTaGFwZVByZXNlbnRhdGlvblNldHRpbmdzRGF0YQAQVmVyc2lvbgAAAAAACUxhc3RXcml0ZQAUN8LKkAEAAAABAP////+DAIMAAAAFX2lkABAAAAAElJICemHX3UOx2LNx74qLFwNEYXRhABsAAAAETGlua2VkU2hhcGVEYXRhAAUAAAAAAAJOYW1lABkAAABMaW5rZWRTaGFwZXNEYXRhUHJvcGVydHkAEFZlcnNpb24AAAAAAAlMYXN0V3JpdGUA+TbCypABAAAAAgD/////gwCDAAAABV9pZAAQAAAABBLcEZf96CJFo5wHxgj5cU4DRGF0YQAbAAAABExpbmtlZFNoYXBlRGF0YQAFAAAAAAACTmFtZQAZAAAATGlua2VkU2hhcGVzRGF0YVByb3BlcnR5ABBWZXJzaW9uAAEAAAAJTGFzdFdyaXRlANOg3PqU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tCw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AQEDAAAAAwD///////8aAAZMaW5rZWRTaGFwZXNEYXRhUHJvcGVydHlfMAQAAAABAAUAAAACAAUAAAAEAAQAAQEDAAAABAD///////8aAAZMaW5rZWRTaGFwZXNEYXRhUHJvcGVydHlfMQQAAAACAAUAAAAD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49723508253244"/>
  <p:tag name="EMPOWERCHARTSPROPERTIES_A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kBAQEBAQEBAQEBAQEBAQMAAAAAAAAAAwAAAAMAAAAA/////wUAqgsAAAAAAAAAAAAAIAD///////////////8AAAD///////////////8DAAAAAgD///////8DAAAABAD///////8DAAAAAw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sdFVVIr2dAnbbga+5E7VYEAAAAAAADAAAAAAADAAAABAADAAkA////////BQAAAAMAEAALMN6y/641lUe5TfO8Em46DAQAAAABAAMAAAAEAAMAAAABAAMAAAAEAP///////wMAAAAAAP///////wMAAAAAAP///////wMAAAAAAP///////wMAAAAAAP///////wMAAAAAAP///////wMAAAAAAP///////wMAAAAAAP///////wQAAgD///////8FAAAABAAQAAuuqjPEYSSoS5dfEv5EKuio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+x0VVUivZ0CdtuBr7kTtVgREYXRhAAUAAAAAAk5hbWUADQAAAExpbmtEYXRhTGlzdAAQVmVyc2lvbgAAAAAACUxhc3RXcml0ZQBG2RCPnAEAAAABAP////9hAGEAAAAFX2lkABAAAAAEMN6y/641lUe5TfO8Em46DAREYXRhAAUAAAAAAk5hbWUADQAAAExpbmtEYXRhTGlzdAAQVmVyc2lvbgABAAAACUxhc3RXcml0ZQBK2RCPnAEAAAACAP////9wAHAAAAAFX2lkABAAAAAErqozxGEkqEuXXxL+RCroqANEYXRhABYAAAACUGVyc29uYWxJZAABAAAAAAACTmFtZQALAAAAUGVyc29uYWxJZAAQVmVyc2lvbgAAAAAACUxhc3RXcml0ZQB+2RCPn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yCwAAAAAAAAAAAAAgAf///////////////wAAAP///////////////wUAAAACAP///////wUAAAADAP///////wUAAAAD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kBAwAAAAMA////////DgAGTGlua0RhdGFMaXN0XzEEAAAAAQAFAAAAAgAFAAAABAAFAAAAAAAFAAAABAAFAAAAAAD///////8FAAAAAAD///////8FAAAAAAD///////8FAAAAAAD///////8FAAAAAAD///////8FAAAAAAD///////8FAAAAAA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075235721262354"/>
  <p:tag name="EMPOWERCHARTSPROPERTIES_B_LENGTH" val="24576"/>
  <p:tag name="DOWN_MIGRATION_INITIAL_LAYOUT_REQUIRED" val="9.2.99"/>
  <p:tag name="RUNTIME_ID" val="92c0f3d5-c0b2-42ec-a258-c7b8fb2b928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/////wUAtgsAAAAAAAAAAAAAIAD///////////////8AAAD///////////////8DAAAAAgD///////8DAAAAAgD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pR4mLEYkBOgnvzITlVLHEEAAAAAAADAAAAAAADAAAAAwADAAAAAAADAAAAAwADAAAAAAADAAAAAwADAAYA////////BQAAAAMAEAALXfV9wutfUEq9nrT30GH8MQQAAAABAAMAAAACAAMAAAAEAAMAAAACAAMAAAAEAAMAAAACAP///////wMAAAAAAP///////wMAAAAAAP///////wMAAAAAAP///////wQAAgD///////8FAAAABAAQAAsSVbDplLDSQLAkzYd4J9P7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ilHiYsRiQE6Ce/MhOVUscQREYXRhAAUAAAAAAk5hbWUADQAAAExpbmtEYXRhTGlzdAAQVmVyc2lvbgAAAAAACUxhc3RXcml0ZQAjlAganQEAAAABAP////9hAGEAAAAFX2lkABAAAAAEXfV9wutfUEq9nrT30GH8MQREYXRhAAUAAAAAAk5hbWUADQAAAExpbmtEYXRhTGlzdAAQVmVyc2lvbgABAAAACUxhc3RXcml0ZQAjlAganQEAAAACAP////9wAHAAAAAFX2lkABAAAAAEElWw6ZSw0kCwJM2HeCfT+wNEYXRhABYAAAACUGVyc29uYWxJZAABAAAAAAACTmFtZQALAAAAUGVyc29uYWxJZAAQVmVyc2lvbgAAAAAACUxhc3RXcml0ZQAzlAga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CAP///////wUAAAACAP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AwAFAAAAAAAFAAAAAwADAAYBAwAAAAMA////////DgAGTGlua0RhdGFMaXN0XzEEAAAAAQAFAAAAAgAFAAAABAAFAAAAAgD///////8FAAAAAgD///////8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098550631099462"/>
  <p:tag name="EMPOWERCHARTSPROPERTIES_B_LENGTH" val="24576"/>
  <p:tag name="DOWN_MIGRATION_INITIAL_LAYOUT_REQUIRED" val="9.2.99"/>
  <p:tag name="RUNTIME_ID" val="2f19d5ff-a516-433d-a4f7-92556220310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7jtH0V21VVCp9MAkMe3IHEEAAAAAAADAAAAAAADAAAABAADAAAAAAADAAAABAADAAAAAAADAAAABAADAAAAAAD///////8DAAIA////////BQAAAAMAEAALaeH0/5H7QUSjPVFhECddUwQAAAABAAMAAAAEAAMAAAABAAMAAAAEAP///////wQAAwD///////8FAAAABAAQAAsFAKnU6Ej4QLJES+ExG7LlBAAAAAIAAwAAAAIAAwAAAAMAAwAAAAIAAwAAAAM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O0fRXbVVUKn0wCQx7cgcQREYXRhAAUAAAAAAk5hbWUADQAAAExpbmtEYXRhTGlzdAAQVmVyc2lvbgAAAAAACUxhc3RXcml0ZQD7lQganQEAAAABAP////9hAGEAAAAFX2lkABAAAAAEaeH0/5H7QUSjPVFhECddUwREYXRhAAUAAAAAAk5hbWUADQAAAExpbmtEYXRhTGlzdAAQVmVyc2lvbgABAAAACUxhc3RXcml0ZQD7lQganQEAAAACAP////9wAHAAAAAFX2lkABAAAAAEBQCp1OhI+ECyREvhMRuy5QNEYXRhABYAAAACUGVyc29uYWxJZAABAAAAAAACTmFtZQALAAAAUGVyc29uYWxJZAAQVmVyc2lvbgAAAAAACUxhc3RXcml0ZQALlgga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AwAFAAAAAAD///////8FAAAAAAD///////8DAAIBAwAAAAMA////////DgAGTGlua0RhdGFMaXN0XzEEAAAAAQAFAAAAAgAFAAAABAAFAAAAAgAFAAAABAA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098550635786949"/>
  <p:tag name="EMPOWERCHARTSPROPERTIES_B_LENGTH" val="24576"/>
  <p:tag name="DOWN_MIGRATION_INITIAL_LAYOUT_REQUIRED" val="9.2.99"/>
  <p:tag name="RUNTIME_ID" val="60e37208-c0c9-4ab6-856a-d89ff83211d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/////wUA5gsAAAAAAAAAAAAAIAD///////////////8AAAD///////////////8DAAAAAgD///////8DAAAABA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VXqXo+0/1Kp0ok+YIZoVgEAAAAAAADAAAAAAADAAAABAADAAQA////////BQAAAAMAEAALmx8NyeVq+kaXPpmk7eeJ+QQAAAABAAMAAAAEAAMAAAABAAMAAAAEAP///////wMAAAAAAP///////wMAAAAAAP///////wQAAgD///////8FAAAABAAQAAsb/hO3EksFSroZ2b1F+3ej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Vepej7T/UqnSiT5ghmhWAREYXRhAAUAAAAAAk5hbWUADQAAAExpbmtEYXRhTGlzdAAQVmVyc2lvbgAAAAAACUxhc3RXcml0ZQA4kwganQEAAAABAP////9hAGEAAAAFX2lkABAAAAAEmx8NyeVq+kaXPpmk7eeJ+QREYXRhAAUAAAAAAk5hbWUADQAAAExpbmtEYXRhTGlzdAAQVmVyc2lvbgABAAAACUxhc3RXcml0ZQBXkwganQEAAAACAP////9wAHAAAAAFX2lkABAAAAAEG/4TtxJLBUq6Gdm9Rft3owNEYXRhABYAAAACUGVyc29uYWxJZAABAAAAAAACTmFtZQALAAAAUGVyc29uYWxJZAAQVmVyc2lvbgAAAAAACUxhc3RXcml0ZQCWkwga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098550629660189"/>
  <p:tag name="EMPOWERCHARTSPROPERTIES_B_LENGTH" val="24576"/>
  <p:tag name="DOWN_MIGRATION_INITIAL_LAYOUT_REQUIRED" val="9.2.99"/>
  <p:tag name="RUNTIME_ID" val="b014f580-0b7a-4cad-ad77-35f941b2254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/////wUA5gsAAAAAAAAAAAAAIAD///////////////8AAAD////////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x76mQpz7PVBgXVTvTJJ4joEAAAAAAADAAAAAAADAAAAAwADAAAAAAADAAAAAwADAAMA////////BQAAAAMAEAALy/cvGBseQ02ikm+Y9YLZ4wQAAAABAAMAAAACAAMAAAAEAAMAAAACAAMAAAAEAAMAAAAAAP///////wQAAgD///////8FAAAABAAQAAslI5FKAf4gQ4zPtnVjySgC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vqZCnPs9UGBdVO9MkniOgREYXRhAAUAAAAAAk5hbWUADQAAAExpbmtEYXRhTGlzdAAQVmVyc2lvbgAAAAAACUxhc3RXcml0ZQC1+aFCnQEAAAABAP////9hAGEAAAAFX2lkABAAAAAEy/cvGBseQ02ikm+Y9YLZ4wREYXRhAAUAAAAAAk5hbWUADQAAAExpbmtEYXRhTGlzdAAQVmVyc2lvbgABAAAACUxhc3RXcml0ZQC1+aFCnQEAAAACAP////9wAHAAAAAFX2lkABAAAAAEJSORSgH+IEOMz7Z1Y8koAgNEYXRhABYAAAACUGVyc29uYWxJZAABAAAAAAACTmFtZQALAAAAUGVyc29uYWxJZAAQVmVyc2lvbgAAAAAACUxhc3RXcml0ZQDV+aFC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MBAwAAAAMA////////DgAGTGlua0RhdGFMaXN0XzEEAAAAAQAFAAAAAgAFAAAABAAFAAAAAgAFAAAABAAFAAAAAAAFAAAABAAEAAYBAwAAAAQA////////DAAGUGVyc29uYWxJZF8wBAAAAAIABQAAAAMABQAAAAEABQAAAAMA////////BQAAAAM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105362047726495"/>
  <p:tag name="EMPOWERCHARTSPROPERTIES_B_LENGTH" val="24576"/>
  <p:tag name="DOWN_MIGRATION_INITIAL_LAYOUT_REQUIRED" val="9.2.99"/>
  <p:tag name="RUNTIME_ID" val="cff7d946-854d-46bf-a03c-6d52a0163d5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96d60J4zr9JjJDvbyVB/7IEAAAAAAADAAAAAAADAAAAAwADAAMA////////BQAAAAMAEAAL62GLk24Z80qrNWlmzmkZEAQAAAABAAMAAAACAAMAAAAEAAMAAAAAAP///////wMAAAAAAP///////wQAAQD///////8FAAAABAAQAAsUzC+aHx+nRq4Hgt5Dnie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3p3rQnjOv0mMkO9vJUH/sgREYXRhAAUAAAAAAk5hbWUADQAAAExpbmtEYXRhTGlzdAAQVmVyc2lvbgABAAAACUxhc3RXcml0ZQAD+qFCnQEAAAABAP////9hAGEAAAAFX2lkABAAAAAE62GLk24Z80qrNWlmzmkZEAREYXRhAAUAAAAAAk5hbWUADQAAAExpbmtEYXRhTGlzdAAQVmVyc2lvbgAAAAAACUxhc3RXcml0ZQD0+aFCnQEAAAACAP////9wAHAAAAAFX2lkABAAAAAEFMwvmh8fp0auB4LeQ54nmwNEYXRhABYAAAACUGVyc29uYWxJZAABAAAAAAACTmFtZQALAAAAUGVyc29uYWxJZAAQVmVyc2lvbgAAAAAACUxhc3RXcml0ZQAT+qFC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105362048355713"/>
  <p:tag name="EMPOWERCHARTSPROPERTIES_B_LENGTH" val="24576"/>
  <p:tag name="DOWN_MIGRATION_INITIAL_LAYOUT_REQUIRED" val="9.2.99"/>
  <p:tag name="RUNTIME_ID" val="8b88fc76-16bd-4c50-874b-b9c32c6165b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96d60J4zr9JjJDvbyVB/7IEAAAAAAADAAAAAAADAAAAAwADAAMA////////BQAAAAMAEAAL62GLk24Z80qrNWlmzmkZEAQAAAABAAMAAAACAAMAAAAEAAMAAAAAAP///////wMAAAAAAP///////wQAAQD///////8FAAAABAAQAAsUzC+aHx+nRq4Hgt5Dnie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3p3rQnjOv0mMkO9vJUH/sgREYXRhAAUAAAAAAk5hbWUADQAAAExpbmtEYXRhTGlzdAAQVmVyc2lvbgABAAAACUxhc3RXcml0ZQAD+qFCnQEAAAABAP////9hAGEAAAAFX2lkABAAAAAE62GLk24Z80qrNWlmzmkZEAREYXRhAAUAAAAAAk5hbWUADQAAAExpbmtEYXRhTGlzdAAQVmVyc2lvbgAAAAAACUxhc3RXcml0ZQD0+aFCnQEAAAACAP////9wAHAAAAAFX2lkABAAAAAEFMwvmh8fp0auB4LeQ54nmwNEYXRhABYAAAACUGVyc29uYWxJZAABAAAAAAACTmFtZQALAAAAUGVyc29uYWxJZAAQVmVyc2lvbgAAAAAACUxhc3RXcml0ZQAT+qFC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105362048355713"/>
  <p:tag name="EMPOWERCHARTSPROPERTIES_B_LENGTH" val="24576"/>
  <p:tag name="DOWN_MIGRATION_INITIAL_LAYOUT_REQUIRED" val="9.2.99"/>
  <p:tag name="RUNTIME_ID" val="8b88fc76-16bd-4c50-874b-b9c32c6165b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+C4Zg1VCL1EulJ2a7KzJDUEAAAAAAADAAAAAAADAAAABAADAAAAAAADAAAAAwADAAIA////////BQAAAAMAEAALZEnKeobRjEiDX5z2ReGM6QQAAAABAAMAAAAEAAMAAAABAAMAAAACAP///////wQAAQD///////8FAAAABAAQAAtY42NH+JUbSLz2zJjePqG4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4LhmDVUIvUS6UnZrsrMkNQREYXRhAAUAAAAAAk5hbWUADQAAAExpbmtEYXRhTGlzdAAQVmVyc2lvbgABAAAACUxhc3RXcml0ZQBKuaFCnQEAAAABAP////9hAGEAAAAFX2lkABAAAAAEZEnKeobRjEiDX5z2ReGM6QREYXRhAAUAAAAAAk5hbWUADQAAAExpbmtEYXRhTGlzdAAQVmVyc2lvbgAAAAAACUxhc3RXcml0ZQBKuaFCnQEAAAACAP////9wAHAAAAAFX2lkABAAAAAEWONjR/iVG0i89syY3j6huANEYXRhABYAAAACUGVyc29uYWxJZAABAAAAAAACTmFtZQALAAAAUGVyc29uYWxJZAAQVmVyc2lvbgAAAAAACUxhc3RXcml0ZQBpuaFC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105361882815406"/>
  <p:tag name="EMPOWERCHARTSPROPERTIES_B_LENGTH" val="24576"/>
  <p:tag name="DOWN_MIGRATION_INITIAL_LAYOUT_REQUIRED" val="9.2.99"/>
  <p:tag name="RUNTIME_ID" val="f5c8267a-778c-47ef-aa4a-53ed9d03fe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z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zjQ66GwHv1IlyCEmskHYcIEAAAAAAADAAAAAAADAAAAAwADAAAAAAADAAAAAwADAAAAAAD///////8DAAAAAAD///////8DAAAAAAD///////8DAAIA////////BQAAAAMAEAALJw9ntvWMXEy8JYgOQNncPQQAAAABAAMAAAACAAMAAAAEAAMAAAACAAMAAAAEAAQAAgD///////8FAAAABAAQAAse7UjkayZmSJq2GUB6Af/9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NDrobAe/UiXIISayQdhwgREYXRhAAUAAAAAAk5hbWUADQAAAExpbmtEYXRhTGlzdAAQVmVyc2lvbgAAAAAACUxhc3RXcml0ZQCJuaFCnQEAAAABAP////9hAGEAAAAFX2lkABAAAAAEJw9ntvWMXEy8JYgOQNncPQREYXRhAAUAAAAAAk5hbWUADQAAAExpbmtEYXRhTGlzdAAQVmVyc2lvbgABAAAACUxhc3RXcml0ZQCJuaFCnQEAAAACAP////9wAHAAAAAFX2lkABAAAAAEHu1I5GsmZkiathlAegH//QNEYXRhABYAAAACUGVyc29uYWxJZAABAAAAAAACTmFtZQALAAAAUGVyc29uYWxJZAAQVmVyc2lvbgAAAAAACUxhc3RXcml0ZQCYuaFC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AEAAAAAAAFAAAAAAAFAAAAAwAFAAAAAAAFAAAAAwAFAAAAAAD///////8FAAAAAAD///////8FAAAAAAD///////8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105361883440509"/>
  <p:tag name="EMPOWERCHARTSPROPERTIES_B_LENGTH" val="24576"/>
  <p:tag name="DOWN_MIGRATION_INITIAL_LAYOUT_REQUIRED" val="9.2.99"/>
  <p:tag name="RUNTIME_ID" val="405cabdb-f6cd-4a6e-995e-cdeb22858e4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y23/kU89lBGlvSauOBTJ9EEAAAAAAADAAAAAAADAAAAAwADAAEA////////BQAAAAMAEAAL1xxGcXBJt0OoLLZS20lNFwQAAAABAAMAAAACAAMAAAAEAAQAAgD///////8FAAAABAAQAAsWFpv/ps3oRq+LBi7slHUF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Lbf+RTz2UEaW9Jq44FMn0QREYXRhAAUAAAAAAk5hbWUADQAAAExpbmtEYXRhTGlzdAAQVmVyc2lvbgABAAAACUxhc3RXcml0ZQDHuaFCnQEAAAABAP////9hAGEAAAAFX2lkABAAAAAE1xxGcXBJt0OoLLZS20lNFwREYXRhAAUAAAAAAk5hbWUADQAAAExpbmtEYXRhTGlzdAAQVmVyc2lvbgAAAAAACUxhc3RXcml0ZQDHuaFCnQEAAAACAP////9wAHAAAAAFX2lkABAAAAAEFhab/6bN6EaviwYu7JR1BQNEYXRhABYAAAACUGVyc29uYWxJZAABAAAAAAACTmFtZQALAAAAUGVyc29uYWxJZAAQVmVyc2lvbgAAAAAACUxhc3RXcml0ZQD2uaFC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QBAwAAAAQA////////DAAGUGVyc29uYWxJZF8wBAAAAAIABQAAAAIABQAAAAEA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105361884225811"/>
  <p:tag name="EMPOWERCHARTSPROPERTIES_B_LENGTH" val="24576"/>
  <p:tag name="DOWN_MIGRATION_INITIAL_LAYOUT_REQUIRED" val="9.2.99"/>
  <p:tag name="RUNTIME_ID" val="0e08562d-46cf-4980-9b62-555d04428bc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F4tGIJRj1Kkal/uib0SvAEAAAAAAADAAAABAADAAAAAwADAAAAAAD///////8DAAEA////////BQAAAAMAEAALFc9b3OYScECnqPb3r0tTOQQAAAABAAMAAAACAAMAAAABAAQAAQD///////8FAAAABAAQAAu61ItQZQk4SZ49BCb2au8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Xi0YglGPUqRqX+6JvRK8AREYXRhAAUAAAAAAk5hbWUADQAAAExpbmtEYXRhTGlzdAAQVmVyc2lvbgABAAAACUxhc3RXcml0ZQDGMGGnlAEAAAABAP////9hAGEAAAAFX2lkABAAAAAEFc9b3OYScECnqPb3r0tTOQREYXRhAAUAAAAAAk5hbWUADQAAAExpbmtEYXRhTGlzdAAQVmVyc2lvbgAAAAAACUxhc3RXcml0ZQDEMGGnlAEAAAACAP////9wAHAAAAAFX2lkABAAAAAEutSLUGUJOEmePQQm9mrvJwNEYXRhABYAAAACUGVyc29uYWxJZAABAAAAAAACTmFtZQALAAAAUGVyc29uYWxJZAAQVmVyc2lvbgAAAAAACUxhc3RXcml0ZQDZMGG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5717521694602"/>
  <p:tag name="EMPOWERCHARTSPROPERTIES_B_LENGTH" val="24576"/>
  <p:tag name="DOWN_MIGRATION_INITIAL_LAYOUT_REQUIRED" val="9.2.99"/>
  <p:tag name="RUNTIME_ID" val="ac766272-e008-4ef0-bfd7-6f349f19a49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F4tGIJRj1Kkal/uib0SvAEAAAAAAADAAAABAADAAAAAwADAAAAAAD///////8DAAEA////////BQAAAAMAEAALFc9b3OYScECnqPb3r0tTOQQAAAABAAMAAAACAAMAAAABAAQAAQD///////8FAAAABAAQAAu61ItQZQk4SZ49BCb2au8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Xi0YglGPUqRqX+6JvRK8AREYXRhAAUAAAAAAk5hbWUADQAAAExpbmtEYXRhTGlzdAAQVmVyc2lvbgABAAAACUxhc3RXcml0ZQDGMGGnlAEAAAABAP////9hAGEAAAAFX2lkABAAAAAEFc9b3OYScECnqPb3r0tTOQREYXRhAAUAAAAAAk5hbWUADQAAAExpbmtEYXRhTGlzdAAQVmVyc2lvbgAAAAAACUxhc3RXcml0ZQDEMGGnlAEAAAACAP////9wAHAAAAAFX2lkABAAAAAEutSLUGUJOEmePQQm9mrvJwNEYXRhABYAAAACUGVyc29uYWxJZAABAAAAAAACTmFtZQALAAAAUGVyc29uYWxJZAAQVmVyc2lvbgAAAAAACUxhc3RXcml0ZQDZMGG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5717521694602"/>
  <p:tag name="EMPOWERCHARTSPROPERTIES_B_LENGTH" val="24576"/>
  <p:tag name="DOWN_MIGRATION_INITIAL_LAYOUT_REQUIRED" val="9.2.99"/>
  <p:tag name="RUNTIME_ID" val="ac766272-e008-4ef0-bfd7-6f349f19a49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F4tGIJRj1Kkal/uib0SvAEAAAAAAADAAAABAADAAAAAwADAAAAAAD///////8DAAEA////////BQAAAAMAEAALFc9b3OYScECnqPb3r0tTOQQAAAABAAMAAAACAAMAAAABAAQAAQD///////8FAAAABAAQAAu61ItQZQk4SZ49BCb2au8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Xi0YglGPUqRqX+6JvRK8AREYXRhAAUAAAAAAk5hbWUADQAAAExpbmtEYXRhTGlzdAAQVmVyc2lvbgABAAAACUxhc3RXcml0ZQDGMGGnlAEAAAABAP////9hAGEAAAAFX2lkABAAAAAEFc9b3OYScECnqPb3r0tTOQREYXRhAAUAAAAAAk5hbWUADQAAAExpbmtEYXRhTGlzdAAQVmVyc2lvbgAAAAAACUxhc3RXcml0ZQDEMGGnlAEAAAACAP////9wAHAAAAAFX2lkABAAAAAEutSLUGUJOEmePQQm9mrvJwNEYXRhABYAAAACUGVyc29uYWxJZAABAAAAAAACTmFtZQALAAAAUGVyc29uYWxJZAAQVmVyc2lvbgAAAAAACUxhc3RXcml0ZQDZMGG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5717521694602"/>
  <p:tag name="EMPOWERCHARTSPROPERTIES_B_LENGTH" val="24576"/>
  <p:tag name="DOWN_MIGRATION_INITIAL_LAYOUT_REQUIRED" val="9.2.99"/>
  <p:tag name="RUNTIME_ID" val="ac766272-e008-4ef0-bfd7-6f349f19a49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F4tGIJRj1Kkal/uib0SvAEAAAAAAADAAAABAADAAAAAwADAAAAAAD///////8DAAEA////////BQAAAAMAEAALFc9b3OYScECnqPb3r0tTOQQAAAABAAMAAAACAAMAAAABAAQAAQD///////8FAAAABAAQAAu61ItQZQk4SZ49BCb2au8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Xi0YglGPUqRqX+6JvRK8AREYXRhAAUAAAAAAk5hbWUADQAAAExpbmtEYXRhTGlzdAAQVmVyc2lvbgABAAAACUxhc3RXcml0ZQDGMGGnlAEAAAABAP////9hAGEAAAAFX2lkABAAAAAEFc9b3OYScECnqPb3r0tTOQREYXRhAAUAAAAAAk5hbWUADQAAAExpbmtEYXRhTGlzdAAQVmVyc2lvbgAAAAAACUxhc3RXcml0ZQDEMGGnlAEAAAACAP////9wAHAAAAAFX2lkABAAAAAEutSLUGUJOEmePQQm9mrvJwNEYXRhABYAAAACUGVyc29uYWxJZAABAAAAAAACTmFtZQALAAAAUGVyc29uYWxJZAAQVmVyc2lvbgAAAAAACUxhc3RXcml0ZQDZMGG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5717521694602"/>
  <p:tag name="EMPOWERCHARTSPROPERTIES_B_LENGTH" val="24576"/>
  <p:tag name="DOWN_MIGRATION_INITIAL_LAYOUT_REQUIRED" val="9.2.99"/>
  <p:tag name="RUNTIME_ID" val="ac766272-e008-4ef0-bfd7-6f349f19a49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F4tGIJRj1Kkal/uib0SvAEAAAAAAADAAAABAADAAAAAwADAAAAAAD///////8DAAEA////////BQAAAAMAEAALFc9b3OYScECnqPb3r0tTOQQAAAABAAMAAAACAAMAAAABAAQAAQD///////8FAAAABAAQAAu61ItQZQk4SZ49BCb2au8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Xi0YglGPUqRqX+6JvRK8AREYXRhAAUAAAAAAk5hbWUADQAAAExpbmtEYXRhTGlzdAAQVmVyc2lvbgABAAAACUxhc3RXcml0ZQDGMGGnlAEAAAABAP////9hAGEAAAAFX2lkABAAAAAEFc9b3OYScECnqPb3r0tTOQREYXRhAAUAAAAAAk5hbWUADQAAAExpbmtEYXRhTGlzdAAQVmVyc2lvbgAAAAAACUxhc3RXcml0ZQDEMGGnlAEAAAACAP////9wAHAAAAAFX2lkABAAAAAEutSLUGUJOEmePQQm9mrvJwNEYXRhABYAAAACUGVyc29uYWxJZAABAAAAAAACTmFtZQALAAAAUGVyc29uYWxJZAAQVmVyc2lvbgAAAAAACUxhc3RXcml0ZQDZMGG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5717521694602"/>
  <p:tag name="EMPOWERCHARTSPROPERTIES_B_LENGTH" val="24576"/>
  <p:tag name="DOWN_MIGRATION_INITIAL_LAYOUT_REQUIRED" val="9.2.99"/>
  <p:tag name="RUNTIME_ID" val="ac766272-e008-4ef0-bfd7-6f349f19a49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F4tGIJRj1Kkal/uib0SvAEAAAAAAADAAAABAADAAAAAwADAAAAAAD///////8DAAEA////////BQAAAAMAEAALFc9b3OYScECnqPb3r0tTOQQAAAABAAMAAAACAAMAAAABAAQAAQD///////8FAAAABAAQAAu61ItQZQk4SZ49BCb2au8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Xi0YglGPUqRqX+6JvRK8AREYXRhAAUAAAAAAk5hbWUADQAAAExpbmtEYXRhTGlzdAAQVmVyc2lvbgABAAAACUxhc3RXcml0ZQDGMGGnlAEAAAABAP////9hAGEAAAAFX2lkABAAAAAEFc9b3OYScECnqPb3r0tTOQREYXRhAAUAAAAAAk5hbWUADQAAAExpbmtEYXRhTGlzdAAQVmVyc2lvbgAAAAAACUxhc3RXcml0ZQDEMGGnlAEAAAACAP////9wAHAAAAAFX2lkABAAAAAEutSLUGUJOEmePQQm9mrvJwNEYXRhABYAAAACUGVyc29uYWxJZAABAAAAAAACTmFtZQALAAAAUGVyc29uYWxJZAAQVmVyc2lvbgAAAAAACUxhc3RXcml0ZQDZMGG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5717521694602"/>
  <p:tag name="EMPOWERCHARTSPROPERTIES_B_LENGTH" val="24576"/>
  <p:tag name="DOWN_MIGRATION_INITIAL_LAYOUT_REQUIRED" val="9.2.99"/>
  <p:tag name="RUNTIME_ID" val="ac766272-e008-4ef0-bfd7-6f349f19a49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F4tGIJRj1Kkal/uib0SvAEAAAAAAADAAAABAADAAAAAwADAAAAAAD///////8DAAEA////////BQAAAAMAEAALFc9b3OYScECnqPb3r0tTOQQAAAABAAMAAAACAAMAAAABAAQAAQD///////8FAAAABAAQAAu61ItQZQk4SZ49BCb2au8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Xi0YglGPUqRqX+6JvRK8AREYXRhAAUAAAAAAk5hbWUADQAAAExpbmtEYXRhTGlzdAAQVmVyc2lvbgABAAAACUxhc3RXcml0ZQDGMGGnlAEAAAABAP////9hAGEAAAAFX2lkABAAAAAEFc9b3OYScECnqPb3r0tTOQREYXRhAAUAAAAAAk5hbWUADQAAAExpbmtEYXRhTGlzdAAQVmVyc2lvbgAAAAAACUxhc3RXcml0ZQDEMGGnlAEAAAACAP////9wAHAAAAAFX2lkABAAAAAEutSLUGUJOEmePQQm9mrvJwNEYXRhABYAAAACUGVyc29uYWxJZAABAAAAAAACTmFtZQALAAAAUGVyc29uYWxJZAAQVmVyc2lvbgAAAAAACUxhc3RXcml0ZQDZMGG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5717521694602"/>
  <p:tag name="EMPOWERCHARTSPROPERTIES_B_LENGTH" val="24576"/>
  <p:tag name="DOWN_MIGRATION_INITIAL_LAYOUT_REQUIRED" val="9.2.99"/>
  <p:tag name="RUNTIME_ID" val="ac766272-e008-4ef0-bfd7-6f349f19a49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5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+qtABuzVCVApZQJSCRpdskEAAAAAAADAAAAAAADAAAAAwADAAAAAAD///////8DAAAAAAD///////8DAAAAAAD///////8DAAAAAAD///////8DAAEA////////BQAAAAMAEAALDsYxZuUdnUODBv3Endu1oAQAAAABAAMAAAACAAMAAAAEAAQAAQD///////8FAAAABAAQAAuuDzCJiz0vQpZhMerJE4yM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6q0AG7NUJUCllAlIJGl2yQREYXRhAAUAAAAAAk5hbWUADQAAAExpbmtEYXRhTGlzdAAQVmVyc2lvbgAAAAAACUxhc3RXcml0ZQCgXBOPnAEAAAABAP////9hAGEAAAAFX2lkABAAAAAEDsYxZuUdnUODBv3Endu1oAREYXRhAAUAAAAAAk5hbWUADQAAAExpbmtEYXRhTGlzdAAQVmVyc2lvbgABAAAACUxhc3RXcml0ZQChXBOPnAEAAAACAP////9wAHAAAAAFX2lkABAAAAAErg8wiYs9L0KWYTHqyROMjANEYXRhABYAAAACUGVyc29uYWxJZAABAAAAAAACTmFtZQALAAAAUGVyc29uYWxJZAAQVmVyc2lvbgAAAAAACUxhc3RXcml0ZQBeXhOPn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AEAAAAAAAFAAAAAAAFAAAAAwAFAAAAAAD///////8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9075237372424192"/>
  <p:tag name="EMPOWERCHARTSPROPERTIES_B_LENGTH" val="24576"/>
  <p:tag name="DOWN_MIGRATION_INITIAL_LAYOUT_REQUIRED" val="9.2.99"/>
  <p:tag name="RUNTIME_ID" val="00ebb769-196c-4fcd-92bf-0d9d349c09f8"/>
</p:tagLst>
</file>

<file path=ppt/theme/theme1.xml><?xml version="1.0" encoding="utf-8"?>
<a:theme xmlns:a="http://schemas.openxmlformats.org/drawingml/2006/main" name="1_Office">
  <a:themeElements>
    <a:clrScheme name="VDO Color Sheme">
      <a:dk1>
        <a:srgbClr val="4B4B4B"/>
      </a:dk1>
      <a:lt1>
        <a:srgbClr val="FFFFFF"/>
      </a:lt1>
      <a:dk2>
        <a:srgbClr val="0E2841"/>
      </a:dk2>
      <a:lt2>
        <a:srgbClr val="EBEBEB"/>
      </a:lt2>
      <a:accent1>
        <a:srgbClr val="00DF82"/>
      </a:accent1>
      <a:accent2>
        <a:srgbClr val="3889E7"/>
      </a:accent2>
      <a:accent3>
        <a:srgbClr val="FF0000"/>
      </a:accent3>
      <a:accent4>
        <a:srgbClr val="FFA500"/>
      </a:accent4>
      <a:accent5>
        <a:srgbClr val="0A6793"/>
      </a:accent5>
      <a:accent6>
        <a:srgbClr val="138AA9"/>
      </a:accent6>
      <a:hlink>
        <a:srgbClr val="3889E7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8D8D5857321843B5DA417E392B6E35" ma:contentTypeVersion="18" ma:contentTypeDescription="Create a new document." ma:contentTypeScope="" ma:versionID="44e76b4e18e8ea44674e9cfe70815395">
  <xsd:schema xmlns:xsd="http://www.w3.org/2001/XMLSchema" xmlns:xs="http://www.w3.org/2001/XMLSchema" xmlns:p="http://schemas.microsoft.com/office/2006/metadata/properties" xmlns:ns2="833fe498-c14d-4f14-8a8b-8c4f3a9498cf" xmlns:ns3="42b263de-314c-421f-a612-9e3eb8cc9320" targetNamespace="http://schemas.microsoft.com/office/2006/metadata/properties" ma:root="true" ma:fieldsID="2087027df48a304df27eaa22b7dee5fd" ns2:_="" ns3:_="">
    <xsd:import namespace="833fe498-c14d-4f14-8a8b-8c4f3a9498cf"/>
    <xsd:import namespace="42b263de-314c-421f-a612-9e3eb8cc93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3fe498-c14d-4f14-8a8b-8c4f3a9498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eda2b84-7b9c-4109-bb73-211c9f8484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b263de-314c-421f-a612-9e3eb8cc932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3de28ae-b7e7-42eb-b213-17fc5c5f79e9}" ma:internalName="TaxCatchAll" ma:showField="CatchAllData" ma:web="42b263de-314c-421f-a612-9e3eb8cc93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33fe498-c14d-4f14-8a8b-8c4f3a9498cf">
      <Terms xmlns="http://schemas.microsoft.com/office/infopath/2007/PartnerControls"/>
    </lcf76f155ced4ddcb4097134ff3c332f>
    <TaxCatchAll xmlns="42b263de-314c-421f-a612-9e3eb8cc9320" xsi:nil="true"/>
  </documentManagement>
</p:properties>
</file>

<file path=customXml/itemProps1.xml><?xml version="1.0" encoding="utf-8"?>
<ds:datastoreItem xmlns:ds="http://schemas.openxmlformats.org/officeDocument/2006/customXml" ds:itemID="{DC90C36C-F782-45CF-A753-D85E72FB8B4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E1CF54-52F9-4DF4-8BC4-C8DA11C1EA8F}">
  <ds:schemaRefs>
    <ds:schemaRef ds:uri="42b263de-314c-421f-a612-9e3eb8cc9320"/>
    <ds:schemaRef ds:uri="833fe498-c14d-4f14-8a8b-8c4f3a9498c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129DD48-06CB-473F-B763-E3FEBB2E5520}">
  <ds:schemaRefs>
    <ds:schemaRef ds:uri="3bb14fed-5aaf-478d-8948-eb36f6249a20"/>
    <ds:schemaRef ds:uri="42b263de-314c-421f-a612-9e3eb8cc9320"/>
    <ds:schemaRef ds:uri="833fe498-c14d-4f14-8a8b-8c4f3a9498cf"/>
    <ds:schemaRef ds:uri="a49161d6-12be-45e8-9126-f74d6b03502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  <clbl:label id="{7e753c2c-bb14-4786-921b-97c6a6fc424f}" enabled="1" method="Standard" siteId="{3bd97919-57c3-48d3-9e9a-8e4c01614a8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3</Words>
  <Application>Microsoft Office PowerPoint</Application>
  <PresentationFormat>Widescreen</PresentationFormat>
  <Paragraphs>79</Paragraphs>
  <Slides>11</Slides>
  <Notes>6</Notes>
  <HiddenSlides>0</HiddenSlides>
  <MMClips>6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ommissioner</vt:lpstr>
      <vt:lpstr>Aptos</vt:lpstr>
      <vt:lpstr>Commissioner Light</vt:lpstr>
      <vt:lpstr>1_Office</vt:lpstr>
      <vt:lpstr>  VDO Fleet app</vt:lpstr>
      <vt:lpstr>VDO Fleet App</vt:lpstr>
      <vt:lpstr>VDO Fleet App</vt:lpstr>
      <vt:lpstr>VDO Fleet App</vt:lpstr>
      <vt:lpstr>VDO Fleet App</vt:lpstr>
      <vt:lpstr>VDO Fleet App</vt:lpstr>
      <vt:lpstr>Bluetooth connectie</vt:lpstr>
      <vt:lpstr>Remote Control</vt:lpstr>
      <vt:lpstr>Manuele invoer</vt:lpstr>
      <vt:lpstr>VDO Fleet App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atalina Rennet</dc:creator>
  <cp:lastModifiedBy>Weltens, Dagmar</cp:lastModifiedBy>
  <cp:revision>34</cp:revision>
  <dcterms:created xsi:type="dcterms:W3CDTF">2024-06-18T14:21:55Z</dcterms:created>
  <dcterms:modified xsi:type="dcterms:W3CDTF">2026-04-03T08:0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:8</vt:lpwstr>
  </property>
  <property fmtid="{D5CDD505-2E9C-101B-9397-08002B2CF9AE}" pid="3" name="ClassificationContentMarkingFooterText">
    <vt:lpwstr>Internal</vt:lpwstr>
  </property>
  <property fmtid="{D5CDD505-2E9C-101B-9397-08002B2CF9AE}" pid="4" name="ContentTypeId">
    <vt:lpwstr>0x0101007F8D8D5857321843B5DA417E392B6E35</vt:lpwstr>
  </property>
  <property fmtid="{D5CDD505-2E9C-101B-9397-08002B2CF9AE}" pid="5" name="MediaServiceImageTags">
    <vt:lpwstr/>
  </property>
</Properties>
</file>